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slideLayouts/slideLayout71.xml" ContentType="application/vnd.openxmlformats-officedocument.presentationml.slideLayout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12.xml" ContentType="application/vnd.openxmlformats-officedocument.presentationml.tags+xml"/>
  <Override PartName="/ppt/tags/tag257.xml" ContentType="application/vnd.openxmlformats-officedocument.presentationml.tags+xml"/>
  <Default Extension="png" ContentType="image/png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tags/tag443.xml" ContentType="application/vnd.openxmlformats-officedocument.presentationml.tags+xml"/>
  <Override PartName="/ppt/tags/tag490.xml" ContentType="application/vnd.openxmlformats-officedocument.presentationml.tags+xml"/>
  <Override PartName="/ppt/slideLayouts/slideLayout43.xml" ContentType="application/vnd.openxmlformats-officedocument.presentationml.slideLayout+xml"/>
  <Override PartName="/ppt/tags/tag235.xml" ContentType="application/vnd.openxmlformats-officedocument.presentationml.tags+xml"/>
  <Override PartName="/ppt/tags/tag282.xml" ContentType="application/vnd.openxmlformats-officedocument.presentationml.tags+xml"/>
  <Default Extension="emf" ContentType="image/x-emf"/>
  <Override PartName="/ppt/tags/tag421.xml" ContentType="application/vnd.openxmlformats-officedocument.presentationml.tags+xml"/>
  <Override PartName="/ppt/slideLayouts/slideLayout90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slideMasters/slideMaster5.xml" ContentType="application/vnd.openxmlformats-officedocument.presentationml.slideMaster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slideLayouts/slideLayout59.xml" ContentType="application/vnd.openxmlformats-officedocument.presentationml.slideLayout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slideLayouts/slideLayout78.xml" ContentType="application/vnd.openxmlformats-officedocument.presentationml.slideLayout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notesSlides/notesSlide1.xml" ContentType="application/vnd.openxmlformats-officedocument.presentationml.notesSlide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412.xml" ContentType="application/vnd.openxmlformats-officedocument.presentationml.tags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slideLayouts/slideLayout28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Layouts/slideLayout75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53.xml" ContentType="application/vnd.openxmlformats-officedocument.presentationml.slideLayout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9.xml" ContentType="application/vnd.openxmlformats-officedocument.presentationml.tags+xml"/>
  <Override PartName="/ppt/tags/tag302.xml" ContentType="application/vnd.openxmlformats-officedocument.presentationml.tags+xml"/>
  <Override PartName="/ppt/slideLayouts/slideLayout69.xml" ContentType="application/vnd.openxmlformats-officedocument.presentationml.slideLayout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theme/theme6.xml" ContentType="application/vnd.openxmlformats-officedocument.theme+xml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slideLayouts/slideLayout61.xml" ContentType="application/vnd.openxmlformats-officedocument.presentationml.slideLayout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slideLayouts/slideLayout50.xml" ContentType="application/vnd.openxmlformats-officedocument.presentationml.slideLayout+xml"/>
  <Override PartName="/ppt/tags/tag365.xml" ContentType="application/vnd.openxmlformats-officedocument.presentationml.tags+xml"/>
  <Override PartName="/ppt/tags/tag499.xml" ContentType="application/vnd.openxmlformats-officedocument.presentationml.tags+xml"/>
  <Override PartName="/ppt/tags/tag504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ppt/tags/tag466.xml" ContentType="application/vnd.openxmlformats-officedocument.presentationml.tags+xml"/>
  <Override PartName="/ppt/slideLayouts/slideLayout88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Override PartName="/ppt/slideLayouts/slideLayout91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33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Layouts/slideLayout80.xml" ContentType="application/vnd.openxmlformats-officedocument.presentationml.slideLayout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485.xml" ContentType="application/vnd.openxmlformats-officedocument.presentationml.tags+xml"/>
  <Override PartName="/ppt/tags/tag496.xml" ContentType="application/vnd.openxmlformats-officedocument.presentationml.tags+xml"/>
  <Override PartName="/ppt/tags/tag50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notesSlides/notesSlide5.xml" ContentType="application/vnd.openxmlformats-officedocument.presentationml.notesSlide+xml"/>
  <Override PartName="/ppt/tags/tag132.xml" ContentType="application/vnd.openxmlformats-officedocument.presentationml.tags+xml"/>
  <Override PartName="/ppt/slideLayouts/slideLayout38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Layouts/slideLayout49.xml" ContentType="application/vnd.openxmlformats-officedocument.presentationml.slideLayout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Layouts/slideLayout85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slideLayouts/slideLayout63.xml" ContentType="application/vnd.openxmlformats-officedocument.presentationml.slideLayout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Default Extension="jpeg" ContentType="image/jpeg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52.xml" ContentType="application/vnd.openxmlformats-officedocument.presentationml.slideLayout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slideLayouts/slideLayout30.xml" ContentType="application/vnd.openxmlformats-officedocument.presentationml.slideLayout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slideMasters/slideMaster3.xml" ContentType="application/vnd.openxmlformats-officedocument.presentationml.slideMaster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57.xml" ContentType="application/vnd.openxmlformats-officedocument.presentationml.slideLayout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Layouts/slideLayout82.xml" ContentType="application/vnd.openxmlformats-officedocument.presentationml.slideLayout+xml"/>
  <Override PartName="/ppt/tags/tag397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60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29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76.xml" ContentType="application/vnd.openxmlformats-officedocument.presentationml.slideLayout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slideLayouts/slideLayout54.xml" ContentType="application/vnd.openxmlformats-officedocument.presentationml.slideLayout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slideLayouts/slideLayout73.xml" ContentType="application/vnd.openxmlformats-officedocument.presentationml.slideLayout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slideLayouts/slideLayout51.xml" ContentType="application/vnd.openxmlformats-officedocument.presentationml.slideLayout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slideLayouts/slideLayout89.xml" ContentType="application/vnd.openxmlformats-officedocument.presentationml.slideLayout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slideLayouts/slideLayout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slideLayouts/slideLayout70.xml" ContentType="application/vnd.openxmlformats-officedocument.presentationml.slideLayout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slideLayouts/slideLayout64.xml" ContentType="application/vnd.openxmlformats-officedocument.presentationml.slideLayout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6.xml" ContentType="application/vnd.openxmlformats-officedocument.presentationml.tags+xml"/>
  <Override PartName="/ppt/slideLayouts/slideLayout42.xml" ContentType="application/vnd.openxmlformats-officedocument.presentationml.slideLayout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91" r:id="rId2"/>
    <p:sldMasterId id="2147483742" r:id="rId3"/>
    <p:sldMasterId id="2147483755" r:id="rId4"/>
    <p:sldMasterId id="2147483781" r:id="rId5"/>
  </p:sldMasterIdLst>
  <p:notesMasterIdLst>
    <p:notesMasterId r:id="rId14"/>
  </p:notesMasterIdLst>
  <p:handoutMasterIdLst>
    <p:handoutMasterId r:id="rId15"/>
  </p:handoutMasterIdLst>
  <p:sldIdLst>
    <p:sldId id="553" r:id="rId6"/>
    <p:sldId id="550" r:id="rId7"/>
    <p:sldId id="551" r:id="rId8"/>
    <p:sldId id="552" r:id="rId9"/>
    <p:sldId id="546" r:id="rId10"/>
    <p:sldId id="554" r:id="rId11"/>
    <p:sldId id="555" r:id="rId12"/>
    <p:sldId id="556" r:id="rId13"/>
  </p:sldIdLst>
  <p:sldSz cx="9144000" cy="6858000" type="screen4x3"/>
  <p:notesSz cx="9856788" cy="678497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accent2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accent2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accent2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accent2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accent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accent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accent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accent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accent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192"/>
    <a:srgbClr val="FFCCCC"/>
    <a:srgbClr val="339933"/>
    <a:srgbClr val="006600"/>
    <a:srgbClr val="FF3300"/>
    <a:srgbClr val="CC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15" autoAdjust="0"/>
    <p:restoredTop sz="96057" autoAdjust="0"/>
  </p:normalViewPr>
  <p:slideViewPr>
    <p:cSldViewPr>
      <p:cViewPr varScale="1">
        <p:scale>
          <a:sx n="102" d="100"/>
          <a:sy n="102" d="100"/>
        </p:scale>
        <p:origin x="-1338" y="-96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4271276" cy="339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09" tIns="46104" rIns="92209" bIns="46104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1"/>
                </a:solidFill>
                <a:latin typeface="Tahoma" charset="0"/>
              </a:defRPr>
            </a:lvl1pPr>
          </a:lstStyle>
          <a:p>
            <a:endParaRPr lang="en-US"/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85516" y="3"/>
            <a:ext cx="4271276" cy="339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09" tIns="46104" rIns="92209" bIns="4610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tx1"/>
                </a:solidFill>
                <a:latin typeface="Tahoma" charset="0"/>
              </a:defRPr>
            </a:lvl1pPr>
          </a:lstStyle>
          <a:p>
            <a:endParaRPr lang="en-US"/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45728"/>
            <a:ext cx="4271276" cy="339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09" tIns="46104" rIns="92209" bIns="46104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1"/>
                </a:solidFill>
                <a:latin typeface="Tahoma" charset="0"/>
              </a:defRPr>
            </a:lvl1pPr>
          </a:lstStyle>
          <a:p>
            <a:endParaRPr lang="en-US"/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85516" y="6445728"/>
            <a:ext cx="4271276" cy="339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209" tIns="46104" rIns="92209" bIns="4610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tx1"/>
                </a:solidFill>
                <a:latin typeface="Tahoma" charset="0"/>
              </a:defRPr>
            </a:lvl1pPr>
          </a:lstStyle>
          <a:p>
            <a:fld id="{10C14908-ADED-4BA9-8110-B276F123B3B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491068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271221" cy="339569"/>
          </a:xfrm>
          <a:prstGeom prst="rect">
            <a:avLst/>
          </a:prstGeom>
        </p:spPr>
        <p:txBody>
          <a:bodyPr vert="horz" lIns="92209" tIns="46104" rIns="92209" bIns="4610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83966" y="1"/>
            <a:ext cx="4271221" cy="339569"/>
          </a:xfrm>
          <a:prstGeom prst="rect">
            <a:avLst/>
          </a:prstGeom>
        </p:spPr>
        <p:txBody>
          <a:bodyPr vert="horz" lIns="92209" tIns="46104" rIns="92209" bIns="46104" rtlCol="0"/>
          <a:lstStyle>
            <a:lvl1pPr algn="r">
              <a:defRPr sz="1200"/>
            </a:lvl1pPr>
          </a:lstStyle>
          <a:p>
            <a:fld id="{370D7936-D461-4CF3-BC79-2EBE39C5D271}" type="datetimeFigureOut">
              <a:rPr lang="ru-RU" smtClean="0"/>
              <a:pPr/>
              <a:t>08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33738" y="509588"/>
            <a:ext cx="3389312" cy="2543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09" tIns="46104" rIns="92209" bIns="4610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6160" y="3222705"/>
            <a:ext cx="7884470" cy="3052918"/>
          </a:xfrm>
          <a:prstGeom prst="rect">
            <a:avLst/>
          </a:prstGeom>
        </p:spPr>
        <p:txBody>
          <a:bodyPr vert="horz" lIns="92209" tIns="46104" rIns="92209" bIns="4610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43806"/>
            <a:ext cx="4271221" cy="339569"/>
          </a:xfrm>
          <a:prstGeom prst="rect">
            <a:avLst/>
          </a:prstGeom>
        </p:spPr>
        <p:txBody>
          <a:bodyPr vert="horz" lIns="92209" tIns="46104" rIns="92209" bIns="4610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83966" y="6443806"/>
            <a:ext cx="4271221" cy="339569"/>
          </a:xfrm>
          <a:prstGeom prst="rect">
            <a:avLst/>
          </a:prstGeom>
        </p:spPr>
        <p:txBody>
          <a:bodyPr vert="horz" lIns="92209" tIns="46104" rIns="92209" bIns="46104" rtlCol="0" anchor="b"/>
          <a:lstStyle>
            <a:lvl1pPr algn="r">
              <a:defRPr sz="1200"/>
            </a:lvl1pPr>
          </a:lstStyle>
          <a:p>
            <a:fld id="{BDD303F9-B75E-49C2-9233-2C8A0C1ABE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813926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32150" y="509588"/>
            <a:ext cx="3392488" cy="2543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D303F9-B75E-49C2-9233-2C8A0C1ABEA0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7375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D303F9-B75E-49C2-9233-2C8A0C1ABEA0}" type="slidenum">
              <a:rPr lang="ru-RU" smtClean="0">
                <a:solidFill>
                  <a:srgbClr val="C0504D"/>
                </a:solidFill>
              </a:rPr>
              <a:pPr/>
              <a:t>5</a:t>
            </a:fld>
            <a:endParaRPr lang="ru-RU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5736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D303F9-B75E-49C2-9233-2C8A0C1ABEA0}" type="slidenum">
              <a:rPr lang="ru-RU" smtClean="0">
                <a:solidFill>
                  <a:srgbClr val="C0504D"/>
                </a:solidFill>
              </a:rPr>
              <a:pPr/>
              <a:t>6</a:t>
            </a:fld>
            <a:endParaRPr lang="ru-RU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8387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D303F9-B75E-49C2-9233-2C8A0C1ABEA0}" type="slidenum">
              <a:rPr lang="ru-RU" smtClean="0">
                <a:solidFill>
                  <a:srgbClr val="C0504D"/>
                </a:solidFill>
              </a:rPr>
              <a:pPr/>
              <a:t>7</a:t>
            </a:fld>
            <a:endParaRPr lang="ru-RU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6296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D303F9-B75E-49C2-9233-2C8A0C1ABEA0}" type="slidenum">
              <a:rPr lang="ru-RU" smtClean="0">
                <a:solidFill>
                  <a:srgbClr val="C0504D"/>
                </a:solidFill>
              </a:rPr>
              <a:pPr/>
              <a:t>8</a:t>
            </a:fld>
            <a:endParaRPr lang="ru-RU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6238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4" Type="http://schemas.openxmlformats.org/officeDocument/2006/relationships/tags" Target="../tags/tag16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http://C29C2DE404024C0AFE5FB49592F53760.dms.sberbank.ru/C29C2DE404024C0AFE5FB49592F53760-815EA057B11B298C871A81A7B0D22050-555AF31BAADCD1A279919356DDB0E503/1.png" TargetMode="External"/><Relationship Id="rId2" Type="http://schemas.openxmlformats.org/officeDocument/2006/relationships/image" Target="http://C29C2DE404024C0AFE5FB49592F53760.dms.sberbank.ru/C29C2DE404024C0AFE5FB49592F53760-815EA057B11B298C871A81A7B0D22050-70452CF3AA24C972693EEC3CA9F6E458/1.png" TargetMode="External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4" Type="http://schemas.openxmlformats.org/officeDocument/2006/relationships/tags" Target="../tags/tag17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4" Type="http://schemas.openxmlformats.org/officeDocument/2006/relationships/tags" Target="../tags/tag197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4" Type="http://schemas.openxmlformats.org/officeDocument/2006/relationships/tags" Target="../tags/tag205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5" Type="http://schemas.openxmlformats.org/officeDocument/2006/relationships/tags" Target="../tags/tag225.xml"/><Relationship Id="rId10" Type="http://schemas.openxmlformats.org/officeDocument/2006/relationships/tags" Target="../tags/tag230.xml"/><Relationship Id="rId4" Type="http://schemas.openxmlformats.org/officeDocument/2006/relationships/tags" Target="../tags/tag224.xml"/><Relationship Id="rId9" Type="http://schemas.openxmlformats.org/officeDocument/2006/relationships/tags" Target="../tags/tag229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tags" Target="../tags/tag248.xml"/><Relationship Id="rId5" Type="http://schemas.openxmlformats.org/officeDocument/2006/relationships/tags" Target="../tags/tag247.xml"/><Relationship Id="rId4" Type="http://schemas.openxmlformats.org/officeDocument/2006/relationships/tags" Target="../tags/tag246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5" Type="http://schemas.openxmlformats.org/officeDocument/2006/relationships/tags" Target="../tags/tag255.xml"/><Relationship Id="rId4" Type="http://schemas.openxmlformats.org/officeDocument/2006/relationships/tags" Target="../tags/tag254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tags" Target="../tags/tag264.xml"/><Relationship Id="rId5" Type="http://schemas.openxmlformats.org/officeDocument/2006/relationships/tags" Target="../tags/tag263.xml"/><Relationship Id="rId4" Type="http://schemas.openxmlformats.org/officeDocument/2006/relationships/tags" Target="../tags/tag262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5" Type="http://schemas.openxmlformats.org/officeDocument/2006/relationships/tags" Target="../tags/tag279.xml"/><Relationship Id="rId4" Type="http://schemas.openxmlformats.org/officeDocument/2006/relationships/tags" Target="../tags/tag278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4" Type="http://schemas.openxmlformats.org/officeDocument/2006/relationships/tags" Target="../tags/tag286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5" Type="http://schemas.openxmlformats.org/officeDocument/2006/relationships/tags" Target="../tags/tag310.xml"/><Relationship Id="rId4" Type="http://schemas.openxmlformats.org/officeDocument/2006/relationships/tags" Target="../tags/tag309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4" Type="http://schemas.openxmlformats.org/officeDocument/2006/relationships/tags" Target="../tags/tag316.xml"/><Relationship Id="rId9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5" Type="http://schemas.openxmlformats.org/officeDocument/2006/relationships/tags" Target="../tags/tag325.xml"/><Relationship Id="rId4" Type="http://schemas.openxmlformats.org/officeDocument/2006/relationships/tags" Target="../tags/tag32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5" Type="http://schemas.openxmlformats.org/officeDocument/2006/relationships/tags" Target="../tags/tag331.xml"/><Relationship Id="rId4" Type="http://schemas.openxmlformats.org/officeDocument/2006/relationships/tags" Target="../tags/tag33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0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5" Type="http://schemas.openxmlformats.org/officeDocument/2006/relationships/tags" Target="../tags/tag347.xml"/><Relationship Id="rId4" Type="http://schemas.openxmlformats.org/officeDocument/2006/relationships/tags" Target="../tags/tag34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57.xml"/><Relationship Id="rId3" Type="http://schemas.openxmlformats.org/officeDocument/2006/relationships/tags" Target="../tags/tag352.xml"/><Relationship Id="rId7" Type="http://schemas.openxmlformats.org/officeDocument/2006/relationships/tags" Target="../tags/tag35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tags" Target="../tags/tag355.xml"/><Relationship Id="rId5" Type="http://schemas.openxmlformats.org/officeDocument/2006/relationships/tags" Target="../tags/tag35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53.xml"/><Relationship Id="rId9" Type="http://schemas.openxmlformats.org/officeDocument/2006/relationships/tags" Target="../tags/tag358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363.xml"/><Relationship Id="rId10" Type="http://schemas.openxmlformats.org/officeDocument/2006/relationships/tags" Target="../tags/tag368.xml"/><Relationship Id="rId4" Type="http://schemas.openxmlformats.org/officeDocument/2006/relationships/tags" Target="../tags/tag362.xml"/><Relationship Id="rId9" Type="http://schemas.openxmlformats.org/officeDocument/2006/relationships/tags" Target="../tags/tag367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4" Type="http://schemas.openxmlformats.org/officeDocument/2006/relationships/tags" Target="../tags/tag372.xml"/><Relationship Id="rId9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384.xml"/><Relationship Id="rId3" Type="http://schemas.openxmlformats.org/officeDocument/2006/relationships/tags" Target="../tags/tag379.xml"/><Relationship Id="rId7" Type="http://schemas.openxmlformats.org/officeDocument/2006/relationships/tags" Target="../tags/tag383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4" Type="http://schemas.openxmlformats.org/officeDocument/2006/relationships/tags" Target="../tags/tag380.xml"/><Relationship Id="rId9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3" Type="http://schemas.openxmlformats.org/officeDocument/2006/relationships/tags" Target="../tags/tag387.xml"/><Relationship Id="rId7" Type="http://schemas.openxmlformats.org/officeDocument/2006/relationships/tags" Target="../tags/tag391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tags" Target="../tags/tag395.xml"/><Relationship Id="rId5" Type="http://schemas.openxmlformats.org/officeDocument/2006/relationships/tags" Target="../tags/tag389.xml"/><Relationship Id="rId10" Type="http://schemas.openxmlformats.org/officeDocument/2006/relationships/tags" Target="../tags/tag394.xml"/><Relationship Id="rId4" Type="http://schemas.openxmlformats.org/officeDocument/2006/relationships/tags" Target="../tags/tag388.xml"/><Relationship Id="rId9" Type="http://schemas.openxmlformats.org/officeDocument/2006/relationships/tags" Target="../tags/tag39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11" Type="http://schemas.openxmlformats.org/officeDocument/2006/relationships/tags" Target="../tags/tag406.xml"/><Relationship Id="rId5" Type="http://schemas.openxmlformats.org/officeDocument/2006/relationships/tags" Target="../tags/tag400.xml"/><Relationship Id="rId10" Type="http://schemas.openxmlformats.org/officeDocument/2006/relationships/tags" Target="../tags/tag405.xml"/><Relationship Id="rId4" Type="http://schemas.openxmlformats.org/officeDocument/2006/relationships/tags" Target="../tags/tag399.xml"/><Relationship Id="rId9" Type="http://schemas.openxmlformats.org/officeDocument/2006/relationships/tags" Target="../tags/tag40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tags" Target="../tags/tag412.xml"/><Relationship Id="rId11" Type="http://schemas.openxmlformats.org/officeDocument/2006/relationships/tags" Target="../tags/tag417.xml"/><Relationship Id="rId5" Type="http://schemas.openxmlformats.org/officeDocument/2006/relationships/tags" Target="../tags/tag411.xml"/><Relationship Id="rId10" Type="http://schemas.openxmlformats.org/officeDocument/2006/relationships/tags" Target="../tags/tag416.xml"/><Relationship Id="rId4" Type="http://schemas.openxmlformats.org/officeDocument/2006/relationships/tags" Target="../tags/tag410.xml"/><Relationship Id="rId9" Type="http://schemas.openxmlformats.org/officeDocument/2006/relationships/tags" Target="../tags/tag41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425.xml"/><Relationship Id="rId3" Type="http://schemas.openxmlformats.org/officeDocument/2006/relationships/tags" Target="../tags/tag420.xml"/><Relationship Id="rId7" Type="http://schemas.openxmlformats.org/officeDocument/2006/relationships/tags" Target="../tags/tag424.xml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tags" Target="../tags/tag423.xml"/><Relationship Id="rId5" Type="http://schemas.openxmlformats.org/officeDocument/2006/relationships/tags" Target="../tags/tag422.xml"/><Relationship Id="rId4" Type="http://schemas.openxmlformats.org/officeDocument/2006/relationships/tags" Target="../tags/tag421.xml"/><Relationship Id="rId9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433.xml"/><Relationship Id="rId3" Type="http://schemas.openxmlformats.org/officeDocument/2006/relationships/tags" Target="../tags/tag428.xml"/><Relationship Id="rId7" Type="http://schemas.openxmlformats.org/officeDocument/2006/relationships/tags" Target="../tags/tag432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tags" Target="../tags/tag431.xml"/><Relationship Id="rId5" Type="http://schemas.openxmlformats.org/officeDocument/2006/relationships/tags" Target="../tags/tag430.xml"/><Relationship Id="rId4" Type="http://schemas.openxmlformats.org/officeDocument/2006/relationships/tags" Target="../tags/tag429.xml"/><Relationship Id="rId9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4" Type="http://schemas.openxmlformats.org/officeDocument/2006/relationships/tags" Target="../tags/tag437.xml"/><Relationship Id="rId9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tags" Target="../tags/tag447.xml"/><Relationship Id="rId5" Type="http://schemas.openxmlformats.org/officeDocument/2006/relationships/tags" Target="../tags/tag446.xml"/><Relationship Id="rId4" Type="http://schemas.openxmlformats.org/officeDocument/2006/relationships/tags" Target="../tags/tag445.xml"/><Relationship Id="rId9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57.xml"/><Relationship Id="rId3" Type="http://schemas.openxmlformats.org/officeDocument/2006/relationships/tags" Target="../tags/tag452.xml"/><Relationship Id="rId7" Type="http://schemas.openxmlformats.org/officeDocument/2006/relationships/tags" Target="../tags/tag456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5" Type="http://schemas.openxmlformats.org/officeDocument/2006/relationships/tags" Target="../tags/tag454.xml"/><Relationship Id="rId4" Type="http://schemas.openxmlformats.org/officeDocument/2006/relationships/tags" Target="../tags/tag453.xml"/><Relationship Id="rId9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65.xml"/><Relationship Id="rId3" Type="http://schemas.openxmlformats.org/officeDocument/2006/relationships/tags" Target="../tags/tag460.xml"/><Relationship Id="rId7" Type="http://schemas.openxmlformats.org/officeDocument/2006/relationships/tags" Target="../tags/tag464.xml"/><Relationship Id="rId2" Type="http://schemas.openxmlformats.org/officeDocument/2006/relationships/tags" Target="../tags/tag459.xml"/><Relationship Id="rId1" Type="http://schemas.openxmlformats.org/officeDocument/2006/relationships/tags" Target="../tags/tag458.xml"/><Relationship Id="rId6" Type="http://schemas.openxmlformats.org/officeDocument/2006/relationships/tags" Target="../tags/tag463.xml"/><Relationship Id="rId5" Type="http://schemas.openxmlformats.org/officeDocument/2006/relationships/tags" Target="../tags/tag462.xml"/><Relationship Id="rId4" Type="http://schemas.openxmlformats.org/officeDocument/2006/relationships/tags" Target="../tags/tag461.xml"/><Relationship Id="rId9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68.xml"/><Relationship Id="rId7" Type="http://schemas.openxmlformats.org/officeDocument/2006/relationships/tags" Target="../tags/tag472.xml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tags" Target="../tags/tag471.xml"/><Relationship Id="rId5" Type="http://schemas.openxmlformats.org/officeDocument/2006/relationships/tags" Target="../tags/tag470.xml"/><Relationship Id="rId4" Type="http://schemas.openxmlformats.org/officeDocument/2006/relationships/tags" Target="../tags/tag46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480.xml"/><Relationship Id="rId3" Type="http://schemas.openxmlformats.org/officeDocument/2006/relationships/tags" Target="../tags/tag475.xml"/><Relationship Id="rId7" Type="http://schemas.openxmlformats.org/officeDocument/2006/relationships/tags" Target="../tags/tag479.xml"/><Relationship Id="rId2" Type="http://schemas.openxmlformats.org/officeDocument/2006/relationships/tags" Target="../tags/tag474.xml"/><Relationship Id="rId1" Type="http://schemas.openxmlformats.org/officeDocument/2006/relationships/tags" Target="../tags/tag473.xml"/><Relationship Id="rId6" Type="http://schemas.openxmlformats.org/officeDocument/2006/relationships/tags" Target="../tags/tag478.xml"/><Relationship Id="rId5" Type="http://schemas.openxmlformats.org/officeDocument/2006/relationships/tags" Target="../tags/tag477.xml"/><Relationship Id="rId4" Type="http://schemas.openxmlformats.org/officeDocument/2006/relationships/tags" Target="../tags/tag476.xml"/><Relationship Id="rId9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83.xml"/><Relationship Id="rId7" Type="http://schemas.openxmlformats.org/officeDocument/2006/relationships/tags" Target="../tags/tag487.xml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tags" Target="../tags/tag486.xml"/><Relationship Id="rId5" Type="http://schemas.openxmlformats.org/officeDocument/2006/relationships/tags" Target="../tags/tag485.xml"/><Relationship Id="rId4" Type="http://schemas.openxmlformats.org/officeDocument/2006/relationships/tags" Target="../tags/tag48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495.xml"/><Relationship Id="rId3" Type="http://schemas.openxmlformats.org/officeDocument/2006/relationships/tags" Target="../tags/tag490.xml"/><Relationship Id="rId7" Type="http://schemas.openxmlformats.org/officeDocument/2006/relationships/tags" Target="../tags/tag494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4" Type="http://schemas.openxmlformats.org/officeDocument/2006/relationships/tags" Target="../tags/tag491.xml"/><Relationship Id="rId9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5" Type="http://schemas.openxmlformats.org/officeDocument/2006/relationships/tags" Target="../tags/tag500.xml"/><Relationship Id="rId4" Type="http://schemas.openxmlformats.org/officeDocument/2006/relationships/tags" Target="../tags/tag49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50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5" Type="http://schemas.openxmlformats.org/officeDocument/2006/relationships/tags" Target="../tags/tag506.xml"/><Relationship Id="rId4" Type="http://schemas.openxmlformats.org/officeDocument/2006/relationships/tags" Target="../tags/tag50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http://C29C2DE404024C0AFE5FB49592F53760.dms.sberbank.ru/C29C2DE404024C0AFE5FB49592F53760-815EA057B11B298C871A81A7B0D22050-555AF31BAADCD1A279919356DDB0E503/1.png" TargetMode="External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706076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ru-RU" sz="2300" dirty="0" smtClean="0"/>
              <a:t>Ключевые компетенции </a:t>
            </a:r>
            <a:r>
              <a:rPr lang="en-US" sz="2300" dirty="0" smtClean="0"/>
              <a:t>PwC</a:t>
            </a:r>
            <a:r>
              <a:rPr lang="ru-RU" sz="2300" dirty="0" smtClean="0"/>
              <a:t> в банковском секторе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9990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8611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3466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1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9755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7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254259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026726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482137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254259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026726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8704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5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0255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22184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8030257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7486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Section No.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Section Divider style</a:t>
            </a:r>
            <a:endParaRPr lang="ru-RU" noProof="0" dirty="0" smtClean="0"/>
          </a:p>
        </p:txBody>
      </p:sp>
      <p:sp>
        <p:nvSpPr>
          <p:cNvPr id="19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66565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ppendix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841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Appendix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Appendix No.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Appendix Divider style</a:t>
            </a:r>
            <a:endParaRPr lang="ru-RU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2884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noProof="0" smtClean="0"/>
              <a:t>Closing statement here</a:t>
            </a:r>
            <a:endParaRPr lang="ru-RU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82138" y="5849471"/>
            <a:ext cx="4800600" cy="672353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Add legal and copyright disclaimers here.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830876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7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Big Number"/>
          <p:cNvSpPr txBox="1"/>
          <p:nvPr userDrawn="1">
            <p:custDataLst>
              <p:tags r:id="rId4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A3202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4456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482138" y="1952513"/>
            <a:ext cx="8179724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482138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36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1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6275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Numb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Big Number"/>
          <p:cNvSpPr txBox="1"/>
          <p:nvPr userDrawn="1">
            <p:custDataLst>
              <p:tags r:id="rId3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FFFFFF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Сентябрь 2012</a:t>
            </a:r>
          </a:p>
        </p:txBody>
      </p:sp>
      <p:sp>
        <p:nvSpPr>
          <p:cNvPr id="1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832331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2363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6919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482138" y="4098664"/>
            <a:ext cx="1111135" cy="1141490"/>
          </a:xfrm>
        </p:spPr>
        <p:txBody>
          <a:bodyPr anchor="t" anchorCtr="0">
            <a:noAutofit/>
          </a:bodyPr>
          <a:lstStyle>
            <a:lvl1pPr>
              <a:defRPr sz="900" i="1" baseline="0"/>
            </a:lvl1pPr>
            <a:lvl2pPr>
              <a:defRPr sz="900" i="1"/>
            </a:lvl2pPr>
            <a:lvl3pPr>
              <a:defRPr sz="900" i="1"/>
            </a:lvl3pPr>
            <a:lvl4pPr>
              <a:defRPr sz="900" i="1"/>
            </a:lvl4pPr>
            <a:lvl5pPr>
              <a:defRPr sz="900" i="1"/>
            </a:lvl5pPr>
          </a:lstStyle>
          <a:p>
            <a:pPr lvl="0"/>
            <a:r>
              <a:rPr lang="ru-RU" noProof="0" smtClean="0"/>
              <a:t>Click to add text</a:t>
            </a:r>
            <a:endParaRPr lang="ru-RU" noProof="0"/>
          </a:p>
        </p:txBody>
      </p:sp>
      <p:cxnSp>
        <p:nvCxnSpPr>
          <p:cNvPr id="32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17491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026670" y="5630524"/>
            <a:ext cx="1107260" cy="816350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" name="TextBox 27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black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30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Frame Line"/>
          <p:cNvCxnSpPr/>
          <p:nvPr userDrawn="1"/>
        </p:nvCxnSpPr>
        <p:spPr bwMode="black">
          <a:xfrm flipV="1">
            <a:off x="1731818" y="1013155"/>
            <a:ext cx="6927273" cy="127059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08142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026670" y="1"/>
            <a:ext cx="8117330" cy="6446873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93679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9757EBF-CBE0-40CE-BC7E-51F8FE093A31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Рисунок 11" descr="http://C29C2DE404024C0AFE5FB49592F53760.dms.sberbank.ru/C29C2DE404024C0AFE5FB49592F53760-815EA057B11B298C871A81A7B0D22050-70452CF3AA24C972693EEC3CA9F6E458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3" name="Рисунок 12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11635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706076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ru-RU" sz="2300" dirty="0" smtClean="0"/>
              <a:t>Ключевые компетенции </a:t>
            </a:r>
            <a:r>
              <a:rPr lang="en-US" sz="2300" dirty="0" smtClean="0"/>
              <a:t>PwC</a:t>
            </a:r>
            <a:r>
              <a:rPr lang="ru-RU" sz="2300" dirty="0" smtClean="0"/>
              <a:t> в банковском секторе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06810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482138" y="1952513"/>
            <a:ext cx="8179724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482138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36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1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46863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82138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4638501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7218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8" y="1952513"/>
            <a:ext cx="5406044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983892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256830" y="1952513"/>
            <a:ext cx="5403273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2432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82138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4638501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4290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2137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2" y="1952513"/>
            <a:ext cx="4023360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0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00982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3466" y="1952513"/>
            <a:ext cx="4023360" cy="389695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1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5396548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8213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25858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32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7182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6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15936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19924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3466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1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65999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7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254259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026726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482137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254259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026726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3685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5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55894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692107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39704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8" y="1952513"/>
            <a:ext cx="5406044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6543652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7486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Section No.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Section Divider style</a:t>
            </a:r>
            <a:endParaRPr lang="ru-RU" noProof="0" dirty="0" smtClean="0"/>
          </a:p>
        </p:txBody>
      </p:sp>
      <p:sp>
        <p:nvSpPr>
          <p:cNvPr id="19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47963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ppendix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841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Appendix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Appendix No.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Appendix Divider style</a:t>
            </a:r>
            <a:endParaRPr lang="ru-RU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42719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noProof="0" smtClean="0"/>
              <a:t>Closing statement here</a:t>
            </a:r>
            <a:endParaRPr lang="ru-RU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82138" y="5849471"/>
            <a:ext cx="4800600" cy="672353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Add legal and copyright disclaimers here.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425828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7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Big Number"/>
          <p:cNvSpPr txBox="1"/>
          <p:nvPr userDrawn="1">
            <p:custDataLst>
              <p:tags r:id="rId4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A3202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28961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Numb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Big Number"/>
          <p:cNvSpPr txBox="1"/>
          <p:nvPr userDrawn="1">
            <p:custDataLst>
              <p:tags r:id="rId3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FFFFFF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Сентябрь 2012</a:t>
            </a:r>
          </a:p>
        </p:txBody>
      </p:sp>
      <p:sp>
        <p:nvSpPr>
          <p:cNvPr id="1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337191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2363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6919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482138" y="4098664"/>
            <a:ext cx="1111135" cy="1141490"/>
          </a:xfrm>
        </p:spPr>
        <p:txBody>
          <a:bodyPr anchor="t" anchorCtr="0">
            <a:noAutofit/>
          </a:bodyPr>
          <a:lstStyle>
            <a:lvl1pPr>
              <a:defRPr sz="900" i="1" baseline="0"/>
            </a:lvl1pPr>
            <a:lvl2pPr>
              <a:defRPr sz="900" i="1"/>
            </a:lvl2pPr>
            <a:lvl3pPr>
              <a:defRPr sz="900" i="1"/>
            </a:lvl3pPr>
            <a:lvl4pPr>
              <a:defRPr sz="900" i="1"/>
            </a:lvl4pPr>
            <a:lvl5pPr>
              <a:defRPr sz="900" i="1"/>
            </a:lvl5pPr>
          </a:lstStyle>
          <a:p>
            <a:pPr lvl="0"/>
            <a:r>
              <a:rPr lang="ru-RU" noProof="0" smtClean="0"/>
              <a:t>Click to add text</a:t>
            </a:r>
            <a:endParaRPr lang="ru-RU" noProof="0"/>
          </a:p>
        </p:txBody>
      </p:sp>
      <p:cxnSp>
        <p:nvCxnSpPr>
          <p:cNvPr id="32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36790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026670" y="5630524"/>
            <a:ext cx="1107260" cy="816350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" name="TextBox 27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black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30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Frame Line"/>
          <p:cNvCxnSpPr/>
          <p:nvPr userDrawn="1"/>
        </p:nvCxnSpPr>
        <p:spPr bwMode="black">
          <a:xfrm flipV="1">
            <a:off x="1731818" y="1013155"/>
            <a:ext cx="6927273" cy="127059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8596334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026670" y="1"/>
            <a:ext cx="8117330" cy="6446873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852370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6" y="508600"/>
            <a:ext cx="291147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6" y="668956"/>
            <a:ext cx="258434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/>
              <a:r>
                <a:rPr lang="ru-RU" sz="800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21202"/>
              <a:r>
                <a:rPr lang="ru-RU" sz="800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3" y="2132244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20" y="835204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094901" y="169393"/>
            <a:ext cx="1985020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8" y="4884406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ru-RU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 hangingPunct="1"/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 hangingPunct="1"/>
                  <a:endParaRPr lang="ru-RU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 hangingPunct="1"/>
                  <a:endParaRPr lang="ru-RU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128" b="4627"/>
          <a:stretch/>
        </p:blipFill>
        <p:spPr bwMode="auto">
          <a:xfrm>
            <a:off x="4341360" y="3255687"/>
            <a:ext cx="480264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593" y="3698325"/>
            <a:ext cx="5909557" cy="251222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1998853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2" y="2191169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634983"/>
            <a:ext cx="3523021" cy="349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8633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256830" y="1952513"/>
            <a:ext cx="5403273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43986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2" y="2191169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8276" y="1457321"/>
            <a:ext cx="3672718" cy="4386576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254899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2" y="2191169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7687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00121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2" y="2191169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86864" y="1445596"/>
            <a:ext cx="4147114" cy="438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65377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3" y="3772430"/>
            <a:ext cx="5036084" cy="219820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2" y="2191169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3707" y="2064785"/>
            <a:ext cx="3327963" cy="305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20148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 flipH="1">
            <a:off x="0" y="6271888"/>
            <a:ext cx="594677" cy="582843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57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57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924497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634" y="6274304"/>
            <a:ext cx="638310" cy="574269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57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57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48321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 flipH="1">
            <a:off x="-4" y="6360561"/>
            <a:ext cx="451939" cy="50271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57" y="6376148"/>
            <a:ext cx="7926979" cy="157014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57" y="6614570"/>
            <a:ext cx="7926979" cy="157014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854097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0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48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137419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37944849"/>
      </p:ext>
    </p:extLst>
  </p:cSld>
  <p:clrMapOvr>
    <a:masterClrMapping/>
  </p:clrMapOvr>
  <p:transition advClick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88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0" y="-27383"/>
            <a:ext cx="9144000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Straight Connector 9"/>
          <p:cNvCxnSpPr/>
          <p:nvPr/>
        </p:nvCxnSpPr>
        <p:spPr>
          <a:xfrm>
            <a:off x="0" y="979693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50826" y="494281"/>
            <a:ext cx="5894741" cy="298327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0"/>
          </p:nvPr>
        </p:nvSpPr>
        <p:spPr>
          <a:xfrm>
            <a:off x="250826" y="1268414"/>
            <a:ext cx="8435975" cy="75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148031" y="6455108"/>
            <a:ext cx="539552" cy="24933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 eaLnBrk="1" hangingPunct="1"/>
            <a:fld id="{91AD4EB0-CEB3-4892-90AA-400FF97E5AC3}" type="slidenum">
              <a:rPr lang="ru-RU" sz="1000" smtClean="0">
                <a:solidFill>
                  <a:srgbClr val="000000"/>
                </a:solidFill>
                <a:latin typeface="Arial"/>
              </a:rPr>
              <a:pPr algn="ctr" eaLnBrk="1" hangingPunct="1"/>
              <a:t>‹#›</a:t>
            </a:fld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1"/>
          </p:nvPr>
        </p:nvSpPr>
        <p:spPr>
          <a:xfrm>
            <a:off x="250825" y="4508501"/>
            <a:ext cx="8458200" cy="12561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4" name="Picture 889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312549" y="188913"/>
            <a:ext cx="2347913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076589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2137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2" y="1952513"/>
            <a:ext cx="4023360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0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12400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706076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ru-RU" sz="2300" dirty="0" smtClean="0"/>
              <a:t>Ключевые компетенции </a:t>
            </a:r>
            <a:r>
              <a:rPr lang="en-US" sz="2300" dirty="0" smtClean="0"/>
              <a:t>PwC</a:t>
            </a:r>
            <a:r>
              <a:rPr lang="ru-RU" sz="2300" dirty="0" smtClean="0"/>
              <a:t> в банковском секторе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73768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482138" y="1952513"/>
            <a:ext cx="8179724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482138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36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1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6265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82138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4638501" y="1952513"/>
            <a:ext cx="4023360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9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14429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8" y="1952513"/>
            <a:ext cx="5406044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951588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482137" y="1952513"/>
            <a:ext cx="2635135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256830" y="1952513"/>
            <a:ext cx="5403273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5273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2137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2" y="1952513"/>
            <a:ext cx="4023360" cy="389695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Ок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0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67030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3466" y="1952513"/>
            <a:ext cx="4023360" cy="389695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1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402755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8213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25858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32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84420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6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40911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08099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83466" y="1952513"/>
            <a:ext cx="4023360" cy="389695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4638501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1801550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3466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1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8179724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42495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482137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254259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026726" y="1952513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482137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254259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026726" y="3969572"/>
            <a:ext cx="2635135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78456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5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20829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1196059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684565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7486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Section No.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Section Divider style</a:t>
            </a:r>
            <a:endParaRPr lang="ru-RU" noProof="0" dirty="0" smtClean="0"/>
          </a:p>
        </p:txBody>
      </p:sp>
      <p:sp>
        <p:nvSpPr>
          <p:cNvPr id="19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7053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ppendix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46841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Click to add Appendix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Appendix No.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82138" y="1008530"/>
            <a:ext cx="8179724" cy="4571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0" i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Click to edit Appendix Divider style</a:t>
            </a:r>
            <a:endParaRPr lang="ru-RU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2447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noProof="0" smtClean="0"/>
              <a:t>Closing statement here</a:t>
            </a:r>
            <a:endParaRPr lang="ru-RU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82138" y="5849471"/>
            <a:ext cx="4800600" cy="672353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Add legal and copyright disclaimers here.</a:t>
            </a:r>
            <a:endParaRPr lang="ru-RU" noProof="0"/>
          </a:p>
        </p:txBody>
      </p:sp>
      <p:cxnSp>
        <p:nvCxnSpPr>
          <p:cNvPr id="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136499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7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4" name="PwC Text"/>
          <p:cNvSpPr txBox="1"/>
          <p:nvPr userDrawn="1">
            <p:custDataLst>
              <p:tags r:id="rId2"/>
            </p:custDataLst>
          </p:nvPr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Big Number"/>
          <p:cNvSpPr txBox="1"/>
          <p:nvPr userDrawn="1">
            <p:custDataLst>
              <p:tags r:id="rId4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A3202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8207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ction 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482138" y="1008529"/>
            <a:ext cx="8179724" cy="45720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2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ection Divider Title</a:t>
            </a:r>
            <a:endParaRPr lang="ru-RU" noProof="0" dirty="0" smtClean="0"/>
          </a:p>
        </p:txBody>
      </p:sp>
      <p:sp>
        <p:nvSpPr>
          <p:cNvPr id="15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PwC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Big Number"/>
          <p:cNvSpPr txBox="1"/>
          <p:nvPr userDrawn="1">
            <p:custDataLst>
              <p:tags r:id="rId3"/>
            </p:custDataLst>
          </p:nvPr>
        </p:nvSpPr>
        <p:spPr>
          <a:xfrm>
            <a:off x="8645231" y="2130015"/>
            <a:ext cx="65" cy="38472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6175" algn="r"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5000" b="1" i="1" dirty="0" smtClean="0">
              <a:solidFill>
                <a:srgbClr val="FFFFFF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FFFFFF"/>
                </a:solidFill>
                <a:latin typeface="Arial"/>
              </a:rPr>
              <a:t>Сентябрь 2012</a:t>
            </a:r>
          </a:p>
        </p:txBody>
      </p:sp>
      <p:sp>
        <p:nvSpPr>
          <p:cNvPr id="1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483616" y="625527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1600200" cy="369332"/>
          </a:xfrm>
          <a:prstGeom prst="rect">
            <a:avLst/>
          </a:prstGeom>
          <a:noFill/>
        </p:spPr>
        <p:txBody>
          <a:bodyPr wrap="square" lIns="91429" tIns="45714" rIns="91429" bIns="45714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800" noProof="1" smtClean="0">
                <a:solidFill>
                  <a:srgbClr val="000000"/>
                </a:solidFill>
                <a:latin typeface="Arial"/>
              </a:rPr>
              <a:t>Slide Tags</a:t>
            </a:r>
            <a:endParaRPr lang="ru-RU" sz="1800" noProof="1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246976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48213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258588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026727" y="1952513"/>
            <a:ext cx="2635135" cy="3896958"/>
          </a:xfrm>
        </p:spPr>
        <p:txBody>
          <a:bodyPr/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/>
          </a:p>
        </p:txBody>
      </p:sp>
      <p:sp>
        <p:nvSpPr>
          <p:cNvPr id="2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0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18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32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67202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026670" y="-4202"/>
            <a:ext cx="8119495" cy="6451076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2363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96919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482138" y="4098664"/>
            <a:ext cx="1111135" cy="1141490"/>
          </a:xfrm>
        </p:spPr>
        <p:txBody>
          <a:bodyPr anchor="t" anchorCtr="0">
            <a:noAutofit/>
          </a:bodyPr>
          <a:lstStyle>
            <a:lvl1pPr>
              <a:defRPr sz="900" i="1" baseline="0"/>
            </a:lvl1pPr>
            <a:lvl2pPr>
              <a:defRPr sz="900" i="1"/>
            </a:lvl2pPr>
            <a:lvl3pPr>
              <a:defRPr sz="900" i="1"/>
            </a:lvl3pPr>
            <a:lvl4pPr>
              <a:defRPr sz="900" i="1"/>
            </a:lvl4pPr>
            <a:lvl5pPr>
              <a:defRPr sz="900" i="1"/>
            </a:lvl5pPr>
          </a:lstStyle>
          <a:p>
            <a:pPr lvl="0"/>
            <a:r>
              <a:rPr lang="ru-RU" noProof="0" smtClean="0"/>
              <a:t>Click to add text</a:t>
            </a:r>
            <a:endParaRPr lang="ru-RU" noProof="0"/>
          </a:p>
        </p:txBody>
      </p:sp>
      <p:cxnSp>
        <p:nvCxnSpPr>
          <p:cNvPr id="32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731212" y="3150817"/>
            <a:ext cx="6126480" cy="283195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20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25252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026670" y="5630524"/>
            <a:ext cx="1107260" cy="816350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" name="TextBox 27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black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tx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black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</a:p>
        </p:txBody>
      </p:sp>
      <p:sp>
        <p:nvSpPr>
          <p:cNvPr id="26" name="Confidentiality stamp"/>
          <p:cNvSpPr txBox="1"/>
          <p:nvPr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30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Frame Line"/>
          <p:cNvCxnSpPr/>
          <p:nvPr userDrawn="1"/>
        </p:nvCxnSpPr>
        <p:spPr bwMode="black">
          <a:xfrm flipV="1">
            <a:off x="1731818" y="1013155"/>
            <a:ext cx="6927273" cy="127059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155397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026670" y="1"/>
            <a:ext cx="8117330" cy="6446873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93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205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1870364" y="678006"/>
            <a:ext cx="46488" cy="20005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indent="-246175"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00" smtClean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  <a:endParaRPr lang="ru-RU" sz="13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1870364" y="1075765"/>
            <a:ext cx="5403273" cy="461665"/>
          </a:xfrm>
        </p:spPr>
        <p:txBody>
          <a:bodyPr anchor="t" anchorCtr="0">
            <a:spAutoFit/>
          </a:bodyPr>
          <a:lstStyle>
            <a:lvl1pPr>
              <a:lnSpc>
                <a:spcPct val="100000"/>
              </a:lnSpc>
              <a:defRPr sz="3000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smtClean="0"/>
              <a:t>Presentation Title</a:t>
            </a:r>
            <a:endParaRPr lang="ru-RU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1870364" y="1546546"/>
            <a:ext cx="5403273" cy="415498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146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293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44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586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5733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2879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026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smtClean="0"/>
              <a:t>Subtitle</a:t>
            </a:r>
            <a:endParaRPr lang="ru-RU" noProof="0" dirty="0" smtClean="0"/>
          </a:p>
        </p:txBody>
      </p:sp>
      <p:sp>
        <p:nvSpPr>
          <p:cNvPr id="26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482138" y="3291840"/>
            <a:ext cx="111390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482138" y="3566160"/>
            <a:ext cx="1111135" cy="2627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3087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b="1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482138" y="3832412"/>
            <a:ext cx="111113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i="1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  <a:endParaRPr lang="ru-RU" sz="9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346364" y="3155157"/>
            <a:ext cx="1246909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6614925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9757EBF-CBE0-40CE-BC7E-51F8FE093A3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27845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63850012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55926402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30609063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01404526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473399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3337073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noProof="0" smtClean="0"/>
              <a:t>Insert banner statement here</a:t>
            </a:r>
            <a:endParaRPr lang="ru-RU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482138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4638502" y="1952513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82138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4638502" y="3969572"/>
            <a:ext cx="4023360" cy="1879899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ru-RU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8658156" y="6408951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wC Text"/>
          <p:cNvSpPr txBox="1"/>
          <p:nvPr userDrawn="1"/>
        </p:nvSpPr>
        <p:spPr>
          <a:xfrm>
            <a:off x="483615" y="6407671"/>
            <a:ext cx="27432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PwC</a:t>
            </a:r>
          </a:p>
        </p:txBody>
      </p:sp>
      <p:sp>
        <p:nvSpPr>
          <p:cNvPr id="26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7489768" y="6261625"/>
            <a:ext cx="11668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000" noProof="1" smtClean="0">
                <a:solidFill>
                  <a:srgbClr val="000000"/>
                </a:solidFill>
                <a:latin typeface="Arial"/>
              </a:rPr>
              <a:t>Сентябрь 2012</a:t>
            </a:r>
          </a:p>
        </p:txBody>
      </p:sp>
      <p:sp>
        <p:nvSpPr>
          <p:cNvPr id="2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483616" y="625947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4638502" y="6402804"/>
            <a:ext cx="27432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83615" y="6113049"/>
            <a:ext cx="8077200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8322633" y="698824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ru-RU" sz="1200" noProof="1" smtClean="0">
                <a:solidFill>
                  <a:srgbClr val="000000"/>
                </a:solidFill>
                <a:latin typeface="Arial"/>
                <a:ea typeface="Cambria Math" pitchFamily="18" charset="0"/>
              </a:rPr>
              <a:t>Draft</a:t>
            </a:r>
          </a:p>
        </p:txBody>
      </p:sp>
      <p:sp>
        <p:nvSpPr>
          <p:cNvPr id="2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473826" y="717883"/>
            <a:ext cx="6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defTabSz="914293" eaLnBrk="1" fontAlgn="auto" hangingPunct="1">
              <a:spcBef>
                <a:spcPts val="0"/>
              </a:spcBef>
              <a:spcAft>
                <a:spcPts val="900"/>
              </a:spcAft>
            </a:pPr>
            <a:endParaRPr lang="ru-RU" sz="1000" noProof="1" smtClean="0">
              <a:solidFill>
                <a:srgbClr val="000000"/>
              </a:solidFill>
              <a:latin typeface="Arial"/>
              <a:ea typeface="Cambria Math" pitchFamily="18" charset="0"/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346364" y="905294"/>
            <a:ext cx="8312729" cy="127059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4776788" y="467957"/>
            <a:ext cx="387926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88" algn="r" defTabSz="914293" eaLnBrk="1" fontAlgn="auto" hangingPunct="1">
              <a:spcBef>
                <a:spcPts val="0"/>
              </a:spcBef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02.10.2012 C:\Users\agafiatull001\Desktop\</a:t>
            </a:r>
            <a:r>
              <a:rPr lang="ru-RU" sz="900" noProof="1" smtClean="0">
                <a:solidFill>
                  <a:srgbClr val="000000"/>
                </a:solidFill>
                <a:latin typeface="Arial"/>
              </a:rPr>
              <a:t>Опыт </a:t>
            </a:r>
            <a:r>
              <a:rPr lang="en-US" sz="900" noProof="1" smtClean="0">
                <a:solidFill>
                  <a:srgbClr val="000000"/>
                </a:solidFill>
                <a:latin typeface="Arial"/>
              </a:rPr>
              <a:t>PwC_Banks_270912.pptx</a:t>
            </a:r>
            <a:endParaRPr lang="ru-RU" sz="900" noProof="1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5495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7" name="Рисунок 46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8" name="Рисунок 47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9" name="Рисунок 48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0" name="Рисунок 49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1" name="Рисунок 50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2" name="Рисунок 51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53" name="Рисунок 52" descr="http://C29C2DE404024C0AFE5FB49592F53760.dms.sberbank.ru/C29C2DE404024C0AFE5FB49592F53760-815EA057B11B298C871A81A7B0D22050-555AF31BAADCD1A279919356DDB0E503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6276018"/>
      </p:ext>
    </p:extLst>
  </p:cSld>
  <p:clrMapOvr>
    <a:masterClrMapping/>
  </p:clrMapOvr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01024112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90306279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71891472"/>
      </p:ext>
    </p:extLst>
  </p:cSld>
  <p:clrMapOvr>
    <a:masterClrMapping/>
  </p:clrMapOvr>
  <p:hf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D4186-37B3-440B-A334-1E2B116FE3A4}" type="datetime1">
              <a:rPr lang="en-US" smtClean="0"/>
              <a:pPr/>
              <a:t>12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ейс для рассмотрения: оценка производственно-складского комплекса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8F46C-D313-4B82-BB6E-3D7FFAC299E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362291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ags" Target="../tags/tag167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3.xml"/><Relationship Id="rId18" Type="http://schemas.openxmlformats.org/officeDocument/2006/relationships/tags" Target="../tags/tag337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tags" Target="../tags/tag336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335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334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3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ags" Target="../tags/tag342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6"/>
            </p:custDataLst>
          </p:nvPr>
        </p:nvGrpSpPr>
        <p:grpSpPr>
          <a:xfrm>
            <a:off x="482138" y="605118"/>
            <a:ext cx="8179724" cy="5922085"/>
            <a:chOff x="530352" y="685800"/>
            <a:chExt cx="8997696" cy="6711696"/>
          </a:xfrm>
        </p:grpSpPr>
        <p:sp>
          <p:nvSpPr>
            <p:cNvPr id="5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 eaLnBrk="1" fontAlgn="auto" hangingPunct="1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ru-RU" sz="1300" dirty="0">
                <a:solidFill>
                  <a:srgbClr val="A32020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5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5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6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7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8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1008529"/>
            <a:ext cx="8179724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noProof="0" smtClean="0"/>
              <a:t>Click to edit Master title style</a:t>
            </a:r>
            <a:endParaRPr lang="ru-R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949824"/>
            <a:ext cx="8179724" cy="3899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60593" y="6228798"/>
            <a:ext cx="239849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ru-RU" smtClean="0">
                <a:solidFill>
                  <a:srgbClr val="000000"/>
                </a:solidFill>
              </a:rPr>
              <a:pPr defTabSz="91429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84910" y="6228798"/>
            <a:ext cx="235000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0944" y="6228798"/>
            <a:ext cx="3182112" cy="30175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4764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90" r:id="rId24"/>
  </p:sldLayoutIdLst>
  <p:hf hdr="0"/>
  <p:txStyles>
    <p:titleStyle>
      <a:lvl1pPr algn="l" defTabSz="914293" rtl="0" eaLnBrk="1" latinLnBrk="0" hangingPunct="1">
        <a:lnSpc>
          <a:spcPct val="100000"/>
        </a:lnSpc>
        <a:spcBef>
          <a:spcPct val="0"/>
        </a:spcBef>
        <a:buNone/>
        <a:defRPr sz="22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SzTx/>
        <a:buFontTx/>
        <a:buNone/>
        <a:tabLst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288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•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-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◦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151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›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288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alpha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roman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Font typeface="Arial" pitchFamily="34" charset="0"/>
        <a:buNone/>
        <a:defRPr sz="18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5"/>
            </p:custDataLst>
          </p:nvPr>
        </p:nvGrpSpPr>
        <p:grpSpPr>
          <a:xfrm>
            <a:off x="482138" y="605118"/>
            <a:ext cx="8179724" cy="5922085"/>
            <a:chOff x="530352" y="685800"/>
            <a:chExt cx="8997696" cy="6711696"/>
          </a:xfrm>
        </p:grpSpPr>
        <p:sp>
          <p:nvSpPr>
            <p:cNvPr id="5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 eaLnBrk="1" fontAlgn="auto" hangingPunct="1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ru-RU" sz="1300" dirty="0">
                <a:solidFill>
                  <a:srgbClr val="A32020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5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5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6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7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8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1008529"/>
            <a:ext cx="8179724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noProof="0" smtClean="0"/>
              <a:t>Click to edit Master title style</a:t>
            </a:r>
            <a:endParaRPr lang="ru-R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949824"/>
            <a:ext cx="8179724" cy="3899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60593" y="6228798"/>
            <a:ext cx="239849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ru-RU" smtClean="0">
                <a:solidFill>
                  <a:srgbClr val="000000"/>
                </a:solidFill>
              </a:rPr>
              <a:pPr defTabSz="91429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84910" y="6228798"/>
            <a:ext cx="235000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0944" y="6228798"/>
            <a:ext cx="3182112" cy="30175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827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</p:sldLayoutIdLst>
  <p:hf hdr="0"/>
  <p:txStyles>
    <p:titleStyle>
      <a:lvl1pPr algn="l" defTabSz="914293" rtl="0" eaLnBrk="1" latinLnBrk="0" hangingPunct="1">
        <a:lnSpc>
          <a:spcPct val="100000"/>
        </a:lnSpc>
        <a:spcBef>
          <a:spcPct val="0"/>
        </a:spcBef>
        <a:buNone/>
        <a:defRPr sz="22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SzTx/>
        <a:buFontTx/>
        <a:buNone/>
        <a:tabLst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288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•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-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◦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151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›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288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alpha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roman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Font typeface="Arial" pitchFamily="34" charset="0"/>
        <a:buNone/>
        <a:defRPr sz="18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88" y="860431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87" y="6648462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eaLnBrk="1" hangingPunct="1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eaLnBrk="1" hangingPunct="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094901" y="169393"/>
            <a:ext cx="1985020" cy="637214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89" y="835204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079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6"/>
            </p:custDataLst>
          </p:nvPr>
        </p:nvGrpSpPr>
        <p:grpSpPr>
          <a:xfrm>
            <a:off x="482138" y="605118"/>
            <a:ext cx="8179724" cy="5922085"/>
            <a:chOff x="530352" y="685800"/>
            <a:chExt cx="8997696" cy="6711696"/>
          </a:xfrm>
        </p:grpSpPr>
        <p:sp>
          <p:nvSpPr>
            <p:cNvPr id="5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19158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19435" eaLnBrk="1" fontAlgn="auto" hangingPunct="1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ru-RU" sz="1300" dirty="0">
                <a:solidFill>
                  <a:srgbClr val="A32020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5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5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6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7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8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19158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138" y="1008529"/>
            <a:ext cx="8179724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noProof="0" smtClean="0"/>
              <a:t>Click to edit Master title style</a:t>
            </a:r>
            <a:endParaRPr lang="ru-R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909" y="1949824"/>
            <a:ext cx="8179724" cy="3899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60593" y="6228798"/>
            <a:ext cx="239849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ru-RU" smtClean="0">
                <a:solidFill>
                  <a:srgbClr val="000000"/>
                </a:solidFill>
              </a:rPr>
              <a:pPr defTabSz="91429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84910" y="6228798"/>
            <a:ext cx="2350008" cy="30175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80944" y="6228798"/>
            <a:ext cx="3182112" cy="30175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defTabSz="91429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99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80" r:id="rId24"/>
  </p:sldLayoutIdLst>
  <p:hf hdr="0"/>
  <p:txStyles>
    <p:titleStyle>
      <a:lvl1pPr algn="l" defTabSz="914293" rtl="0" eaLnBrk="1" latinLnBrk="0" hangingPunct="1">
        <a:lnSpc>
          <a:spcPct val="100000"/>
        </a:lnSpc>
        <a:spcBef>
          <a:spcPct val="0"/>
        </a:spcBef>
        <a:buNone/>
        <a:defRPr sz="22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SzTx/>
        <a:buFontTx/>
        <a:buNone/>
        <a:tabLst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288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•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-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◦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151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Clr>
          <a:schemeClr val="tx1"/>
        </a:buClr>
        <a:buFont typeface="Georgia" pitchFamily="18" charset="0"/>
        <a:buChar char="›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288" marR="0" indent="-274288" algn="l" defTabSz="91429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576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alpha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864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roman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288" algn="l" defTabSz="914293" rtl="0" eaLnBrk="1" latinLnBrk="0" hangingPunct="1">
        <a:lnSpc>
          <a:spcPct val="100000"/>
        </a:lnSpc>
        <a:spcBef>
          <a:spcPts val="0"/>
        </a:spcBef>
        <a:spcAft>
          <a:spcPts val="897"/>
        </a:spcAft>
        <a:buFont typeface="Arial" pitchFamily="34" charset="0"/>
        <a:buNone/>
        <a:defRPr sz="18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20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ru-RU" smtClean="0">
                <a:solidFill>
                  <a:srgbClr val="000000"/>
                </a:solidFill>
              </a:rPr>
              <a:pPr defTabSz="68572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224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8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asros.ru/upload/iblock/a39/12_13_dsc_2675.jp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" t="14071" r="-203" b="1766"/>
          <a:stretch/>
        </p:blipFill>
        <p:spPr bwMode="auto">
          <a:xfrm>
            <a:off x="1" y="908685"/>
            <a:ext cx="9162572" cy="5130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11505" y="2618899"/>
            <a:ext cx="7812405" cy="1350168"/>
          </a:xfrm>
          <a:prstGeom prst="rect">
            <a:avLst/>
          </a:prstGeom>
          <a:solidFill>
            <a:schemeClr val="accent3">
              <a:alpha val="76000"/>
            </a:schemeClr>
          </a:solidFill>
          <a:ln w="25400">
            <a:noFill/>
          </a:ln>
        </p:spPr>
        <p:txBody>
          <a:bodyPr vert="horz" wrap="square" lIns="68580" tIns="34290" rIns="68580" bIns="34290" rtlCol="0" anchor="ctr">
            <a:noAutofit/>
          </a:bodyPr>
          <a:lstStyle/>
          <a:p>
            <a:pPr algn="ctr"/>
            <a:endParaRPr lang="ru-RU" sz="1200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00814" y="2888933"/>
            <a:ext cx="7011591" cy="857250"/>
          </a:xfrm>
        </p:spPr>
        <p:txBody>
          <a:bodyPr/>
          <a:lstStyle/>
          <a:p>
            <a:r>
              <a:rPr lang="ru-RU" sz="2700" i="0" dirty="0" smtClean="0">
                <a:solidFill>
                  <a:srgbClr val="00489B"/>
                </a:solidFill>
                <a:latin typeface="Bahnschrift" panose="020B0502040204020203" pitchFamily="34" charset="0"/>
                <a:cs typeface="Times New Roman" pitchFamily="18" charset="0"/>
              </a:rPr>
              <a:t>Методические рекомендации по анализу  ликвидности объектов недвижимости</a:t>
            </a:r>
            <a:r>
              <a:rPr lang="ru-RU" sz="2700" i="0" dirty="0">
                <a:solidFill>
                  <a:srgbClr val="00489B"/>
                </a:solidFill>
                <a:latin typeface="Bahnschrift" panose="020B0502040204020203" pitchFamily="34" charset="0"/>
                <a:cs typeface="Times New Roman" pitchFamily="18" charset="0"/>
              </a:rPr>
              <a:t/>
            </a:r>
            <a:br>
              <a:rPr lang="ru-RU" sz="2700" i="0" dirty="0">
                <a:solidFill>
                  <a:srgbClr val="00489B"/>
                </a:solidFill>
                <a:latin typeface="Bahnschrift" panose="020B0502040204020203" pitchFamily="34" charset="0"/>
                <a:cs typeface="Times New Roman" pitchFamily="18" charset="0"/>
              </a:rPr>
            </a:br>
            <a:endParaRPr lang="ru-RU" sz="2700" i="0" dirty="0">
              <a:solidFill>
                <a:srgbClr val="00489B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800814" y="4869180"/>
            <a:ext cx="6433948" cy="5400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29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i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400" b="0" i="0" dirty="0">
                <a:solidFill>
                  <a:schemeClr val="tx1">
                    <a:lumMod val="50000"/>
                  </a:schemeClr>
                </a:solidFill>
                <a:latin typeface="Bahnschrift" panose="020B0502040204020203" pitchFamily="34" charset="0"/>
                <a:cs typeface="Times New Roman" pitchFamily="18" charset="0"/>
              </a:rPr>
              <a:t>Рослов В.Ю</a:t>
            </a:r>
            <a:r>
              <a:rPr lang="ru-RU" sz="2400" b="0" i="0" dirty="0" smtClean="0">
                <a:solidFill>
                  <a:schemeClr val="tx1">
                    <a:lumMod val="50000"/>
                  </a:schemeClr>
                </a:solidFill>
                <a:latin typeface="Bahnschrift" panose="020B0502040204020203" pitchFamily="34" charset="0"/>
                <a:cs typeface="Times New Roman" pitchFamily="18" charset="0"/>
              </a:rPr>
              <a:t>.</a:t>
            </a:r>
            <a:endParaRPr lang="en-US" sz="2400" b="0" i="0" dirty="0" smtClean="0">
              <a:solidFill>
                <a:schemeClr val="tx1">
                  <a:lumMod val="50000"/>
                </a:schemeClr>
              </a:solidFill>
              <a:latin typeface="Bahnschrift" panose="020B0502040204020203" pitchFamily="34" charset="0"/>
              <a:cs typeface="Times New Roman" pitchFamily="18" charset="0"/>
            </a:endParaRPr>
          </a:p>
          <a:p>
            <a:pPr fontAlgn="auto">
              <a:spcAft>
                <a:spcPts val="0"/>
              </a:spcAft>
            </a:pPr>
            <a:r>
              <a:rPr lang="ru-RU" sz="2400" b="0" i="0" dirty="0" smtClean="0">
                <a:solidFill>
                  <a:schemeClr val="tx1">
                    <a:lumMod val="50000"/>
                  </a:schemeClr>
                </a:solidFill>
                <a:latin typeface="Bahnschrift" panose="020B0502040204020203" pitchFamily="34" charset="0"/>
                <a:cs typeface="Times New Roman" pitchFamily="18" charset="0"/>
              </a:rPr>
              <a:t>Председатель Комитета по залогам и оценке Ассоциации банков России </a:t>
            </a:r>
            <a:endParaRPr lang="ru-RU" sz="2400" b="0" i="0" dirty="0">
              <a:solidFill>
                <a:schemeClr val="tx1">
                  <a:lumMod val="50000"/>
                </a:schemeClr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pic>
        <p:nvPicPr>
          <p:cNvPr id="1030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75157" y="998697"/>
            <a:ext cx="2187416" cy="720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83222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CA18F46C-D313-4B82-BB6E-3D7FFAC299E3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685800"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21494" y="127943"/>
            <a:ext cx="6210776" cy="70085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Цель и задачи Методических рекомендаций по анализу ликвидности объектов недвижимости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-1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42551" y="1628775"/>
            <a:ext cx="893229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ru-RU" sz="1800" u="sng" dirty="0">
                <a:solidFill>
                  <a:srgbClr val="00489B"/>
                </a:solidFill>
                <a:latin typeface="Bahnschrift" panose="020B0502040204020203" pitchFamily="34" charset="0"/>
              </a:rPr>
              <a:t>Цель документа</a:t>
            </a:r>
            <a:r>
              <a:rPr lang="ru-RU" sz="1800" u="sng" dirty="0" smtClean="0">
                <a:solidFill>
                  <a:srgbClr val="00489B"/>
                </a:solidFill>
                <a:latin typeface="Bahnschrift" panose="020B0502040204020203" pitchFamily="34" charset="0"/>
              </a:rPr>
              <a:t>:</a:t>
            </a:r>
          </a:p>
          <a:p>
            <a:pPr defTabSz="685800"/>
            <a:endParaRPr lang="ru-RU" sz="1800" u="sng" dirty="0">
              <a:solidFill>
                <a:srgbClr val="00489B"/>
              </a:solidFill>
              <a:latin typeface="Bahnschrift" panose="020B0502040204020203" pitchFamily="34" charset="0"/>
            </a:endParaRPr>
          </a:p>
          <a:p>
            <a:pPr defTabSz="685800"/>
            <a:r>
              <a:rPr lang="ru-RU" sz="18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Формирование </a:t>
            </a:r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единых </a:t>
            </a:r>
            <a:r>
              <a:rPr lang="ru-RU" sz="18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рекомендаций </a:t>
            </a:r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к системам и продуктам информационного, справочного и методического обеспечения для определения ликвидности объектов недвижимости для целей залогового кредитования </a:t>
            </a:r>
          </a:p>
          <a:p>
            <a:pPr defTabSz="685800"/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</a:endParaRPr>
          </a:p>
          <a:p>
            <a:pPr defTabSz="685800"/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В рамках данной работы не предполагается создание конкретного инструмента или методики определения для расчета </a:t>
            </a:r>
            <a:r>
              <a:rPr lang="ru-RU" sz="18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ликвидности</a:t>
            </a:r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</a:endParaRPr>
          </a:p>
          <a:p>
            <a:pPr defTabSz="685800"/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Bahnschrift" panose="020B0502040204020203" pitchFamily="34" charset="0"/>
            </a:endParaRPr>
          </a:p>
          <a:p>
            <a:pPr defTabSz="685800"/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Bahnschrift" panose="020B0502040204020203" pitchFamily="34" charset="0"/>
            </a:endParaRPr>
          </a:p>
          <a:p>
            <a:pPr defTabSz="685800"/>
            <a:r>
              <a:rPr lang="ru-RU" sz="1800" u="sng" dirty="0">
                <a:solidFill>
                  <a:srgbClr val="00489B"/>
                </a:solidFill>
                <a:latin typeface="Bahnschrift" panose="020B0502040204020203" pitchFamily="34" charset="0"/>
              </a:rPr>
              <a:t>Целевой сегмент</a:t>
            </a:r>
            <a:r>
              <a:rPr lang="ru-RU" sz="1800" u="sng" dirty="0" smtClean="0">
                <a:solidFill>
                  <a:srgbClr val="00489B"/>
                </a:solidFill>
                <a:latin typeface="Bahnschrift" panose="020B0502040204020203" pitchFamily="34" charset="0"/>
              </a:rPr>
              <a:t>:</a:t>
            </a:r>
          </a:p>
          <a:p>
            <a:pPr defTabSz="685800"/>
            <a:endParaRPr lang="ru-RU" sz="1800" u="sng" dirty="0">
              <a:solidFill>
                <a:srgbClr val="00489B"/>
              </a:solidFill>
              <a:latin typeface="Bahnschrift" panose="020B0502040204020203" pitchFamily="34" charset="0"/>
            </a:endParaRPr>
          </a:p>
          <a:p>
            <a:pPr defTabSz="685800"/>
            <a:r>
              <a:rPr lang="ru-RU" sz="18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Организации (банки, оценочные и консалтинговые компании) проводящие анализ ликвидности и разрабатывающие продукты для этой </a:t>
            </a:r>
            <a:r>
              <a:rPr lang="ru-RU" sz="18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</a:rPr>
              <a:t>цели</a:t>
            </a:r>
            <a:endParaRPr lang="ru-RU" sz="18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5631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11899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CA18F46C-D313-4B82-BB6E-3D7FFAC299E3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685800"/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5549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13207" y="244762"/>
            <a:ext cx="6210776" cy="37769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Содержание документа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-1" y="963446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251460" y="1620273"/>
            <a:ext cx="8641080" cy="4439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ределение базовых принципов анализа ликвидности объектов недвижимости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овые определения и термины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яемые подходы (статистический, экспертный, др.) </a:t>
            </a:r>
            <a:b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 startAt="2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гментация объектов недвижимости для целей анализа ликвидности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рриториальная сегментация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ъектная сегментация</a:t>
            </a:r>
            <a:b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 startAt="3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используемым источникам информации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содержанию и качеству источников информации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количеству источников информации исходя из требований к их качеству</a:t>
            </a:r>
            <a:b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  <a:latin typeface="Bahnschrift Light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 startAt="4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подготовке и обработке исходных данных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зор технологий для автоматизированного сбора данных из открытых источников (сайтов)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горитм сбора исходных данных из открытых источников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борочная </a:t>
            </a: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рка части исходных данных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горитм обработки исходных данных, удаление выбросов и дублей</a:t>
            </a:r>
          </a:p>
          <a:p>
            <a:pPr marL="404813" indent="-267891" defTabSz="685800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  <a:latin typeface="Bahnschrift Ligh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хранению исходных данных и ссылок на источники для обеспечения возможности их проверки в будущем</a:t>
            </a:r>
          </a:p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 startAt="5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построению экспертных инструментов</a:t>
            </a:r>
          </a:p>
          <a:p>
            <a:pPr marL="257175" indent="-257175" defTabSz="685800">
              <a:lnSpc>
                <a:spcPct val="107000"/>
              </a:lnSpc>
              <a:spcAft>
                <a:spcPts val="0"/>
              </a:spcAft>
              <a:buFont typeface="+mj-lt"/>
              <a:buAutoNum type="arabicPeriod" startAt="5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построению методик и инструментов анализа</a:t>
            </a:r>
          </a:p>
          <a:p>
            <a:pPr marL="257175" indent="-257175" defTabSz="685800">
              <a:lnSpc>
                <a:spcPct val="107000"/>
              </a:lnSpc>
              <a:spcAft>
                <a:spcPts val="600"/>
              </a:spcAft>
              <a:buFont typeface="+mj-lt"/>
              <a:buAutoNum type="arabicPeriod" startAt="5"/>
            </a:pP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</a:t>
            </a:r>
            <a:r>
              <a:rPr lang="ru-RU" sz="1200" dirty="0" smtClean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ю подходов</a:t>
            </a:r>
            <a:r>
              <a:rPr lang="ru-RU" sz="1200" dirty="0">
                <a:solidFill>
                  <a:srgbClr val="00489B"/>
                </a:solidFill>
                <a:latin typeface="Bahnschrift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xmlns="" val="2886110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273748" y="5325761"/>
            <a:ext cx="8241602" cy="500981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CA18F46C-D313-4B82-BB6E-3D7FFAC299E3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685800"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96346" y="96771"/>
            <a:ext cx="6210776" cy="70085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Состав Экспертной группы </a:t>
            </a:r>
          </a:p>
          <a:p>
            <a:pPr defTabSz="685800" fontAlgn="auto">
              <a:spcAft>
                <a:spcPts val="0"/>
              </a:spcAft>
            </a:pPr>
            <a:r>
              <a:rPr lang="ru-RU" sz="2100" dirty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по разработке рекомендаций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00583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E4005197-BE91-48D2-BF72-C765AA2C9DB5}"/>
              </a:ext>
            </a:extLst>
          </p:cNvPr>
          <p:cNvSpPr txBox="1">
            <a:spLocks/>
          </p:cNvSpPr>
          <p:nvPr/>
        </p:nvSpPr>
        <p:spPr>
          <a:xfrm>
            <a:off x="251460" y="1922223"/>
            <a:ext cx="5940743" cy="284942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 fontAlgn="auto">
              <a:spcAft>
                <a:spcPts val="0"/>
              </a:spcAft>
            </a:pPr>
            <a:r>
              <a:rPr lang="ru-RU" sz="1500" dirty="0">
                <a:solidFill>
                  <a:srgbClr val="00489B"/>
                </a:solidFill>
                <a:latin typeface="Bahnschrift" panose="020B0502040204020203" pitchFamily="34" charset="0"/>
                <a:cs typeface="Times New Roman" pitchFamily="18" charset="0"/>
              </a:rPr>
              <a:t>Состав экспертной группы Комитета</a:t>
            </a:r>
            <a:endParaRPr lang="en-US" sz="1500" dirty="0">
              <a:solidFill>
                <a:srgbClr val="00489B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393476" y="5277243"/>
            <a:ext cx="8499064" cy="598016"/>
          </a:xfrm>
          <a:prstGeom prst="rect">
            <a:avLst/>
          </a:prstGeom>
        </p:spPr>
        <p:txBody>
          <a:bodyPr vert="horz" lIns="51435" tIns="25718" rIns="51435" bIns="25718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 fontAlgn="auto">
              <a:spcAft>
                <a:spcPts val="0"/>
              </a:spcAft>
            </a:pPr>
            <a:r>
              <a:rPr lang="ru-RU" sz="1500" dirty="0">
                <a:solidFill>
                  <a:prstClr val="white"/>
                </a:solidFill>
                <a:latin typeface="Bahnschrift Light" panose="020B0502040204020203" pitchFamily="34" charset="0"/>
                <a:cs typeface="Times New Roman" panose="02020603050405020304" pitchFamily="18" charset="0"/>
              </a:rPr>
              <a:t>Планируемый срок завершения работы над документом – март 2021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5598651"/>
              </p:ext>
            </p:extLst>
          </p:nvPr>
        </p:nvGraphicFramePr>
        <p:xfrm>
          <a:off x="288605" y="2262097"/>
          <a:ext cx="8243889" cy="2932864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495780">
                  <a:extLst>
                    <a:ext uri="{9D8B030D-6E8A-4147-A177-3AD203B41FA5}">
                      <a16:colId xmlns:a16="http://schemas.microsoft.com/office/drawing/2014/main" xmlns="" val="95630931"/>
                    </a:ext>
                  </a:extLst>
                </a:gridCol>
                <a:gridCol w="1612319">
                  <a:extLst>
                    <a:ext uri="{9D8B030D-6E8A-4147-A177-3AD203B41FA5}">
                      <a16:colId xmlns:a16="http://schemas.microsoft.com/office/drawing/2014/main" xmlns="" val="772607748"/>
                    </a:ext>
                  </a:extLst>
                </a:gridCol>
                <a:gridCol w="6135790">
                  <a:extLst>
                    <a:ext uri="{9D8B030D-6E8A-4147-A177-3AD203B41FA5}">
                      <a16:colId xmlns:a16="http://schemas.microsoft.com/office/drawing/2014/main" xmlns="" val="340152807"/>
                    </a:ext>
                  </a:extLst>
                </a:gridCol>
              </a:tblGrid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№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ФИО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Организация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18283382"/>
                  </a:ext>
                </a:extLst>
              </a:tr>
              <a:tr h="2412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1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Рослов В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ПАО Сбербанк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617988246"/>
                  </a:ext>
                </a:extLst>
              </a:tr>
              <a:tr h="3424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2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Лейфер Л</a:t>
                      </a: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ООО "Приволжский центр методического и информационного обеспечения оценки"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20406984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3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Бужкевич А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Bahnschrift Light" panose="020B0502040204020203" pitchFamily="34" charset="0"/>
                        </a:rPr>
                        <a:t>RWAY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971862585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4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Трофимова М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Bahnschrift Light" panose="020B0502040204020203" pitchFamily="34" charset="0"/>
                        </a:rPr>
                        <a:t>ILM</a:t>
                      </a:r>
                      <a:endParaRPr lang="ru-RU" sz="90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2486938381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5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Денин Н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Bahnschrift Light" panose="020B0502040204020203" pitchFamily="34" charset="0"/>
                        </a:rPr>
                        <a:t>ПАО Сбербанк</a:t>
                      </a:r>
                      <a:endParaRPr lang="ru-RU" sz="90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4016123068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6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Шуклин В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Bahnschrift Light" panose="020B0502040204020203" pitchFamily="34" charset="0"/>
                        </a:rPr>
                        <a:t>ПАО Сбербанк</a:t>
                      </a:r>
                      <a:endParaRPr lang="ru-RU" sz="90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4007340853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7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Комарова К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Bahnschrift Light" panose="020B0502040204020203" pitchFamily="34" charset="0"/>
                        </a:rPr>
                        <a:t>Cushman&amp;Wakefield</a:t>
                      </a:r>
                      <a:endParaRPr lang="ru-RU" sz="90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4143179550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Bahnschrift Light" panose="020B0502040204020203" pitchFamily="34" charset="0"/>
                        </a:rPr>
                        <a:t>8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Bahnschrift Light" panose="020B0502040204020203" pitchFamily="34" charset="0"/>
                        </a:rPr>
                        <a:t>Подколзин</a:t>
                      </a: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 И</a:t>
                      </a: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Bahnschrift Light" panose="020B0502040204020203" pitchFamily="34" charset="0"/>
                        </a:rPr>
                        <a:t>ПАО Открытие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2066350282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Bahnschrift Light" panose="020B0502040204020203" pitchFamily="34" charset="0"/>
                        </a:rPr>
                        <a:t>9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Богатырев</a:t>
                      </a:r>
                      <a:r>
                        <a:rPr lang="ru-RU" sz="1100" baseline="0" dirty="0" smtClean="0">
                          <a:effectLst/>
                          <a:latin typeface="Bahnschrift Light" panose="020B0502040204020203" pitchFamily="34" charset="0"/>
                        </a:rPr>
                        <a:t> А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Райффайзенбанк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3575176085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Bahnschrift Light" panose="020B0502040204020203" pitchFamily="34" charset="0"/>
                        </a:rPr>
                        <a:t>10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 smtClean="0">
                          <a:effectLst/>
                          <a:latin typeface="Bahnschrift Light" panose="020B0502040204020203" pitchFamily="34" charset="0"/>
                        </a:rPr>
                        <a:t>Чичинадзе</a:t>
                      </a: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 А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Райффайзенбанк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814151898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Bahnschrift Light" panose="020B0502040204020203" pitchFamily="34" charset="0"/>
                        </a:rPr>
                        <a:t>11</a:t>
                      </a:r>
                      <a:endParaRPr lang="ru-RU" sz="9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Романова А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ПАО Открытие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2553070292"/>
                  </a:ext>
                </a:extLst>
              </a:tr>
              <a:tr h="213563">
                <a:tc>
                  <a:txBody>
                    <a:bodyPr/>
                    <a:lstStyle/>
                    <a:p>
                      <a:pPr marL="0" algn="l" defTabSz="914293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effectLst/>
                          <a:latin typeface="Bahnschrift Light" panose="020B0502040204020203" pitchFamily="34" charset="0"/>
                        </a:rPr>
                        <a:t>12</a:t>
                      </a:r>
                      <a:endParaRPr lang="ru-RU" sz="900" b="1" kern="1200" dirty="0">
                        <a:solidFill>
                          <a:schemeClr val="lt1"/>
                        </a:solidFill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solidFill>
                      <a:srgbClr val="00489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Семенова А.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Bahnschrift Light" panose="020B0502040204020203" pitchFamily="34" charset="0"/>
                        </a:rPr>
                        <a:t>ПАО Открытие</a:t>
                      </a:r>
                      <a:endParaRPr lang="ru-RU" sz="1100" dirty="0">
                        <a:effectLst/>
                        <a:latin typeface="Bahnschrift Light" panose="020B0502040204020203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806325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71862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5364088" y="267398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441325" y="2797810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3" name="Text Box 5"/>
          <p:cNvSpPr txBox="1">
            <a:spLocks noChangeArrowheads="1"/>
          </p:cNvSpPr>
          <p:nvPr/>
        </p:nvSpPr>
        <p:spPr bwMode="auto">
          <a:xfrm>
            <a:off x="7375525" y="194627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9" name="Рисунок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13969" y="2708910"/>
            <a:ext cx="7200900" cy="3336925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6346" y="96771"/>
            <a:ext cx="6210776" cy="37769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Важное в документе</a:t>
            </a:r>
            <a:endParaRPr lang="ru-RU" sz="2100" dirty="0">
              <a:solidFill>
                <a:prstClr val="white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00583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96345" y="1268730"/>
            <a:ext cx="803614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1. Систематизированы подходы и методы анализа ликвидности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2.  Срок экспозиции определен как  время от выставления оферты до достижения договоренности о сделке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0504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5364088" y="267398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441325" y="2797810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3" name="Text Box 5"/>
          <p:cNvSpPr txBox="1">
            <a:spLocks noChangeArrowheads="1"/>
          </p:cNvSpPr>
          <p:nvPr/>
        </p:nvSpPr>
        <p:spPr bwMode="auto">
          <a:xfrm>
            <a:off x="7375525" y="194627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6346" y="96771"/>
            <a:ext cx="6210776" cy="37769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Важное в документе (1</a:t>
            </a:r>
            <a:r>
              <a:rPr lang="en-US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/</a:t>
            </a:r>
            <a:r>
              <a:rPr lang="ru-RU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2)</a:t>
            </a:r>
            <a:endParaRPr lang="ru-RU" sz="2100" dirty="0">
              <a:solidFill>
                <a:prstClr val="white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00583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96345" y="1268730"/>
            <a:ext cx="803614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 startAt="3"/>
            </a:pPr>
            <a:r>
              <a:rPr lang="ru-RU" dirty="0" smtClean="0">
                <a:solidFill>
                  <a:schemeClr val="tx1"/>
                </a:solidFill>
              </a:rPr>
              <a:t>Сформулированы подходы к анализу ликвидности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Статистическ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Аналитический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Экспертный (точечный и массовый)</a:t>
            </a:r>
          </a:p>
          <a:p>
            <a:pPr marL="342900" indent="-342900">
              <a:buAutoNum type="arabicPeriod" startAt="3"/>
            </a:pPr>
            <a:endParaRPr lang="ru-RU" dirty="0" smtClean="0">
              <a:solidFill>
                <a:schemeClr val="tx1"/>
              </a:solidFill>
            </a:endParaRPr>
          </a:p>
          <a:p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dirty="0" smtClean="0">
                <a:solidFill>
                  <a:schemeClr val="tx1"/>
                </a:solidFill>
              </a:rPr>
              <a:t>Проведен </a:t>
            </a:r>
            <a:r>
              <a:rPr lang="ru-RU" dirty="0">
                <a:solidFill>
                  <a:schemeClr val="tx1"/>
                </a:solidFill>
              </a:rPr>
              <a:t>анализ и примеры </a:t>
            </a:r>
            <a:r>
              <a:rPr lang="ru-RU" dirty="0" smtClean="0">
                <a:solidFill>
                  <a:schemeClr val="tx1"/>
                </a:solidFill>
              </a:rPr>
              <a:t>используемых сегментаций объектов недвижимости в разрезе объектов и локации</a:t>
            </a:r>
          </a:p>
          <a:p>
            <a:pPr marL="342900" indent="-342900">
              <a:buFont typeface="+mj-lt"/>
              <a:buAutoNum type="arabicPeriod" startAt="4"/>
            </a:pPr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dirty="0" smtClean="0">
                <a:solidFill>
                  <a:schemeClr val="tx1"/>
                </a:solidFill>
              </a:rPr>
              <a:t>Сформированы рекомендации по работе с источниками информации, анализу их качества</a:t>
            </a:r>
          </a:p>
          <a:p>
            <a:pPr marL="342900" indent="-342900">
              <a:buFont typeface="+mj-lt"/>
              <a:buAutoNum type="arabicPeriod" startAt="4"/>
            </a:pPr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dirty="0" smtClean="0">
                <a:solidFill>
                  <a:schemeClr val="tx1"/>
                </a:solidFill>
              </a:rPr>
              <a:t>Приведены алгоритмы работы с информацией, в </a:t>
            </a:r>
            <a:r>
              <a:rPr lang="ru-RU" dirty="0" err="1" smtClean="0">
                <a:solidFill>
                  <a:schemeClr val="tx1"/>
                </a:solidFill>
              </a:rPr>
              <a:t>т.ч</a:t>
            </a:r>
            <a:r>
              <a:rPr lang="ru-RU" dirty="0" smtClean="0">
                <a:solidFill>
                  <a:schemeClr val="tx1"/>
                </a:solidFill>
              </a:rPr>
              <a:t>. с использованием машинного обучения</a:t>
            </a:r>
          </a:p>
          <a:p>
            <a:pPr marL="342900" indent="-342900">
              <a:buFont typeface="+mj-lt"/>
              <a:buAutoNum type="arabicPeriod" startAt="4"/>
            </a:pPr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 startAt="4"/>
            </a:pPr>
            <a:r>
              <a:rPr lang="ru-RU" dirty="0" smtClean="0">
                <a:solidFill>
                  <a:schemeClr val="tx1"/>
                </a:solidFill>
              </a:rPr>
              <a:t>Описан механизм «кластеризации», позволяющий расширить область сбора информации </a:t>
            </a:r>
          </a:p>
          <a:p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709970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5364088" y="267398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441325" y="2797810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3" name="Text Box 5"/>
          <p:cNvSpPr txBox="1">
            <a:spLocks noChangeArrowheads="1"/>
          </p:cNvSpPr>
          <p:nvPr/>
        </p:nvSpPr>
        <p:spPr bwMode="auto">
          <a:xfrm>
            <a:off x="7375525" y="194627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6346" y="96771"/>
            <a:ext cx="6210776" cy="37769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Важное в документе </a:t>
            </a:r>
            <a:r>
              <a:rPr lang="en-US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(2/2)</a:t>
            </a:r>
            <a:endParaRPr lang="ru-RU" sz="2100" dirty="0">
              <a:solidFill>
                <a:prstClr val="white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00583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41325" y="1749137"/>
            <a:ext cx="803614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8. </a:t>
            </a:r>
            <a:r>
              <a:rPr lang="ru-RU" dirty="0">
                <a:solidFill>
                  <a:schemeClr val="tx1"/>
                </a:solidFill>
              </a:rPr>
              <a:t>Описаны способы автоматизированного сбора информации (</a:t>
            </a:r>
            <a:r>
              <a:rPr lang="ru-RU" dirty="0" err="1">
                <a:solidFill>
                  <a:schemeClr val="tx1"/>
                </a:solidFill>
              </a:rPr>
              <a:t>парсинга</a:t>
            </a:r>
            <a:r>
              <a:rPr lang="ru-RU" dirty="0">
                <a:solidFill>
                  <a:schemeClr val="tx1"/>
                </a:solidFill>
              </a:rPr>
              <a:t>) и последующей обработки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9. </a:t>
            </a:r>
            <a:r>
              <a:rPr lang="ru-RU" dirty="0">
                <a:solidFill>
                  <a:schemeClr val="tx1"/>
                </a:solidFill>
              </a:rPr>
              <a:t>Проведен анализ правовых аспектов </a:t>
            </a:r>
            <a:r>
              <a:rPr lang="ru-RU" dirty="0" err="1">
                <a:solidFill>
                  <a:schemeClr val="tx1"/>
                </a:solidFill>
              </a:rPr>
              <a:t>парсинга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10 </a:t>
            </a:r>
            <a:r>
              <a:rPr lang="ru-RU" dirty="0">
                <a:solidFill>
                  <a:schemeClr val="tx1"/>
                </a:solidFill>
              </a:rPr>
              <a:t>Сформированы рекомендации по привлечению экспертов в случаях массового и фокусного опроса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11. </a:t>
            </a:r>
            <a:r>
              <a:rPr lang="ru-RU" dirty="0">
                <a:solidFill>
                  <a:schemeClr val="tx1"/>
                </a:solidFill>
              </a:rPr>
              <a:t>Описаны подходы к построению аналитических инструментов, приведены примеры используемых </a:t>
            </a:r>
            <a:r>
              <a:rPr lang="ru-RU" dirty="0" smtClean="0">
                <a:solidFill>
                  <a:schemeClr val="tx1"/>
                </a:solidFill>
              </a:rPr>
              <a:t>инструментов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93888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5364088" y="267398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441325" y="2797810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413" name="Text Box 5"/>
          <p:cNvSpPr txBox="1">
            <a:spLocks noChangeArrowheads="1"/>
          </p:cNvSpPr>
          <p:nvPr/>
        </p:nvSpPr>
        <p:spPr bwMode="auto">
          <a:xfrm>
            <a:off x="7375525" y="1946275"/>
            <a:ext cx="184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/>
            <a:endParaRPr lang="ru-RU" altLang="ru-RU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6075"/>
            <a:ext cx="7002304" cy="853973"/>
          </a:xfrm>
          <a:prstGeom prst="rect">
            <a:avLst/>
          </a:prstGeom>
          <a:solidFill>
            <a:srgbClr val="0048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20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Picture 6" descr="Ассоциация Банков Росси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887" y="159725"/>
            <a:ext cx="1971962" cy="649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96346" y="96771"/>
            <a:ext cx="6210776" cy="377693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 fontAlgn="auto">
              <a:spcAft>
                <a:spcPts val="0"/>
              </a:spcAft>
            </a:pPr>
            <a:r>
              <a:rPr lang="ru-RU" sz="2100" dirty="0" smtClean="0">
                <a:solidFill>
                  <a:prstClr val="white"/>
                </a:solidFill>
                <a:latin typeface="Bahnschrift" panose="020B0502040204020203" pitchFamily="34" charset="0"/>
                <a:cs typeface="Times New Roman" pitchFamily="18" charset="0"/>
              </a:rPr>
              <a:t>Пример аналитического инструмента</a:t>
            </a:r>
            <a:endParaRPr lang="ru-RU" sz="2100" dirty="0">
              <a:solidFill>
                <a:prstClr val="white"/>
              </a:solidFill>
              <a:latin typeface="Bahnschrift" panose="020B0502040204020203" pitchFamily="34" charset="0"/>
              <a:cs typeface="Times New Roman" pitchFamily="18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00583" y="967622"/>
            <a:ext cx="7002304" cy="0"/>
          </a:xfrm>
          <a:prstGeom prst="line">
            <a:avLst/>
          </a:prstGeom>
          <a:ln w="22225">
            <a:solidFill>
              <a:srgbClr val="0048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10891394"/>
              </p:ext>
            </p:extLst>
          </p:nvPr>
        </p:nvGraphicFramePr>
        <p:xfrm>
          <a:off x="251461" y="1268728"/>
          <a:ext cx="7920988" cy="49225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9198">
                  <a:extLst>
                    <a:ext uri="{9D8B030D-6E8A-4147-A177-3AD203B41FA5}">
                      <a16:colId xmlns:a16="http://schemas.microsoft.com/office/drawing/2014/main" xmlns="" val="530769166"/>
                    </a:ext>
                  </a:extLst>
                </a:gridCol>
                <a:gridCol w="3573351">
                  <a:extLst>
                    <a:ext uri="{9D8B030D-6E8A-4147-A177-3AD203B41FA5}">
                      <a16:colId xmlns:a16="http://schemas.microsoft.com/office/drawing/2014/main" xmlns="" val="3936059938"/>
                    </a:ext>
                  </a:extLst>
                </a:gridCol>
                <a:gridCol w="965204">
                  <a:extLst>
                    <a:ext uri="{9D8B030D-6E8A-4147-A177-3AD203B41FA5}">
                      <a16:colId xmlns:a16="http://schemas.microsoft.com/office/drawing/2014/main" xmlns="" val="3610000809"/>
                    </a:ext>
                  </a:extLst>
                </a:gridCol>
                <a:gridCol w="1215894">
                  <a:extLst>
                    <a:ext uri="{9D8B030D-6E8A-4147-A177-3AD203B41FA5}">
                      <a16:colId xmlns:a16="http://schemas.microsoft.com/office/drawing/2014/main" xmlns="" val="2169731346"/>
                    </a:ext>
                  </a:extLst>
                </a:gridCol>
                <a:gridCol w="84129">
                  <a:extLst>
                    <a:ext uri="{9D8B030D-6E8A-4147-A177-3AD203B41FA5}">
                      <a16:colId xmlns:a16="http://schemas.microsoft.com/office/drawing/2014/main" xmlns="" val="2405758202"/>
                    </a:ext>
                  </a:extLst>
                </a:gridCol>
                <a:gridCol w="63212">
                  <a:extLst>
                    <a:ext uri="{9D8B030D-6E8A-4147-A177-3AD203B41FA5}">
                      <a16:colId xmlns:a16="http://schemas.microsoft.com/office/drawing/2014/main" xmlns="" val="1495053908"/>
                    </a:ext>
                  </a:extLst>
                </a:gridCol>
              </a:tblGrid>
              <a:tr h="512297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Факторы, влияющие на ликвидность Офисного Центра,  сданного в аренду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54959181"/>
                  </a:ext>
                </a:extLst>
              </a:tr>
              <a:tr h="2080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7269656"/>
                  </a:ext>
                </a:extLst>
              </a:tr>
              <a:tr h="208000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57424401"/>
                  </a:ext>
                </a:extLst>
              </a:tr>
              <a:tr h="2502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аименование фактор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писани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Значени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Ве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38369417"/>
                  </a:ext>
                </a:extLst>
              </a:tr>
              <a:tr h="208000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Ц арендный бизнес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5466876"/>
                  </a:ext>
                </a:extLst>
              </a:tr>
              <a:tr h="10399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Местоположени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 -  для г. Москвы - Расположение в  черте города</a:t>
                      </a:r>
                      <a:br>
                        <a:rPr lang="ru-RU" sz="1100">
                          <a:effectLst/>
                        </a:rPr>
                      </a:br>
                      <a:r>
                        <a:rPr lang="ru-RU" sz="1100">
                          <a:effectLst/>
                        </a:rPr>
                        <a:t> - для Санкт-Петербурга и других регионов РФ - Расположение в исторической части города или в одном из деловых кластеров города, имеющем хорошую транспортную и пешеходную доступно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494609131"/>
                  </a:ext>
                </a:extLst>
              </a:tr>
              <a:tr h="10399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Характеристики здан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овый/реконструированный офисный  центр,  оснащённый системой отопления, системой приточно-вытяжной вентиляции, обладающий охраняемой парковкой, с качественной отделкой внешних стен, входной группы и мест общего пользован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707960434"/>
                  </a:ext>
                </a:extLst>
              </a:tr>
              <a:tr h="8319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Загрузк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 - для ОЦ, функционирующего более 2 лет, - не менее 80%;</a:t>
                      </a:r>
                      <a:br>
                        <a:rPr lang="ru-RU" sz="1100">
                          <a:effectLst/>
                        </a:rPr>
                      </a:br>
                      <a:r>
                        <a:rPr lang="ru-RU" sz="1100">
                          <a:effectLst/>
                        </a:rPr>
                        <a:t> - для ОЦ, функционирующего менее 2 лет, - не менее 50%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д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129132713"/>
                  </a:ext>
                </a:extLst>
              </a:tr>
              <a:tr h="20800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Сумм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00%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867678306"/>
                  </a:ext>
                </a:extLst>
              </a:tr>
              <a:tr h="20800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Ликвидность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СРЕДНЯ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822466816"/>
                  </a:ext>
                </a:extLst>
              </a:tr>
              <a:tr h="20800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Срок экспозици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180 </a:t>
                      </a:r>
                      <a:r>
                        <a:rPr lang="ru-RU" sz="1100" dirty="0">
                          <a:effectLst/>
                        </a:rPr>
                        <a:t>- </a:t>
                      </a:r>
                      <a:r>
                        <a:rPr lang="ru-RU" sz="1100" dirty="0" smtClean="0">
                          <a:effectLst/>
                        </a:rPr>
                        <a:t>270 </a:t>
                      </a:r>
                      <a:r>
                        <a:rPr lang="ru-RU" sz="1100" dirty="0" err="1">
                          <a:effectLst/>
                        </a:rPr>
                        <a:t>дн</a:t>
                      </a:r>
                      <a:r>
                        <a:rPr lang="ru-RU" sz="1100" dirty="0">
                          <a:effectLst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12" marR="37812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87001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657795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  <p:tag name="SMARTLINKEDSHAPEID" val="SideBa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  <p:tag name="SMARTLINKEDSHAPEID" val="SideBa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  <p:tag name="SMARTLINKEDSHAPEID" val="SideBa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BusinessUnitCoverText}"/>
  <p:tag name="SMARTWRITE" val="{@BusinessUnitCoverText}"/>
  <p:tag name="SMARTOBJECT" val="No Colour v.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  <p:tag name="SMARTLINKEDSHAPEID" val="SideBa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  <p:tag name="SMARTLINKEDSHAPEID" val="SideBa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  <p:tag name="SMARTLINKEDSHAPEID" val="SideBa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  <p:tag name="SMARTLINKEDSHAPEID" val="SideBa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  <p:tag name="SMARTLINKEDSHAPEID" val="SideBa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  <p:tag name="SMARTLINKEDSHAPEID" val="SideBa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BusinessUnitCoverText}"/>
  <p:tag name="SMARTWRITE" val="{@BusinessUnitCoverText}"/>
  <p:tag name="SMARTOBJECT" val="No Colour v.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  <p:tag name="SMARTLINKEDSHAPEID" val="SideBa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  <p:tag name="SMARTLINKEDSHAPEID" val="SideBa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  <p:tag name="SMARTLINKEDSHAPEID" val="SideBa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  <p:tag name="SMARTLINKEDSHAPEID" val="SideBa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  <p:tag name="SMARTLINKEDSHAPEID" val="SideBa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  <p:tag name="SMARTLINKEDSHAPEID" val="SideBa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BusinessUnitCoverText}"/>
  <p:tag name="SMARTWRITE" val="{@BusinessUnitCoverText}"/>
  <p:tag name="SMARTOBJECT" val="No Colour v.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  <p:tag name="SMARTLINKEDSHAPEID" val="SideBa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  <p:tag name="SMARTLINKEDSHAPEID" val="SideBa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  <p:tag name="SMARTLINKEDSHAPEID" val="SideBa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heme/theme1.xml><?xml version="1.0" encoding="utf-8"?>
<a:theme xmlns:a="http://schemas.openxmlformats.org/drawingml/2006/main" name="Presentation">
  <a:themeElements>
    <a:clrScheme name="АРБ">
      <a:dk1>
        <a:srgbClr val="264653"/>
      </a:dk1>
      <a:lt1>
        <a:srgbClr val="2A9D8F"/>
      </a:lt1>
      <a:dk2>
        <a:srgbClr val="E9C46A"/>
      </a:dk2>
      <a:lt2>
        <a:srgbClr val="F4A24D"/>
      </a:lt2>
      <a:accent1>
        <a:srgbClr val="E76F51"/>
      </a:accent1>
      <a:accent2>
        <a:srgbClr val="E0301E"/>
      </a:accent2>
      <a:accent3>
        <a:srgbClr val="FFFFFF"/>
      </a:accent3>
      <a:accent4>
        <a:srgbClr val="000000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Presentation">
  <a:themeElements>
    <a:clrScheme name="АРБ">
      <a:dk1>
        <a:srgbClr val="264653"/>
      </a:dk1>
      <a:lt1>
        <a:srgbClr val="2A9D8F"/>
      </a:lt1>
      <a:dk2>
        <a:srgbClr val="E9C46A"/>
      </a:dk2>
      <a:lt2>
        <a:srgbClr val="F4A24D"/>
      </a:lt2>
      <a:accent1>
        <a:srgbClr val="E76F51"/>
      </a:accent1>
      <a:accent2>
        <a:srgbClr val="E0301E"/>
      </a:accent2>
      <a:accent3>
        <a:srgbClr val="FFFFFF"/>
      </a:accent3>
      <a:accent4>
        <a:srgbClr val="000000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Шаблон новый ценности">
  <a:themeElements>
    <a:clrScheme name="АРБ">
      <a:dk1>
        <a:srgbClr val="264653"/>
      </a:dk1>
      <a:lt1>
        <a:srgbClr val="2A9D8F"/>
      </a:lt1>
      <a:dk2>
        <a:srgbClr val="E9C46A"/>
      </a:dk2>
      <a:lt2>
        <a:srgbClr val="F4A24D"/>
      </a:lt2>
      <a:accent1>
        <a:srgbClr val="E76F51"/>
      </a:accent1>
      <a:accent2>
        <a:srgbClr val="E0301E"/>
      </a:accent2>
      <a:accent3>
        <a:srgbClr val="FFFFFF"/>
      </a:accent3>
      <a:accent4>
        <a:srgbClr val="000000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Presentation Designs\Высокое напряжение.pot</Template>
  <TotalTime>29858</TotalTime>
  <Words>450</Words>
  <Application>Microsoft Office PowerPoint</Application>
  <PresentationFormat>Экран (4:3)</PresentationFormat>
  <Paragraphs>152</Paragraphs>
  <Slides>8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Presentation</vt:lpstr>
      <vt:lpstr>1_Presentation</vt:lpstr>
      <vt:lpstr>Шаблон новый ценности</vt:lpstr>
      <vt:lpstr>2_Presentation</vt:lpstr>
      <vt:lpstr>Office Theme</vt:lpstr>
      <vt:lpstr>Методические рекомендации по анализу  ликвидности объектов недвижимости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</vt:vector>
  </TitlesOfParts>
  <Company>ddd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актика оценки недвижимости.  Типичные ошибки в отчетах.</dc:title>
  <dc:creator>Olga</dc:creator>
  <cp:lastModifiedBy>KAV</cp:lastModifiedBy>
  <cp:revision>515</cp:revision>
  <cp:lastPrinted>2016-07-05T16:13:25Z</cp:lastPrinted>
  <dcterms:created xsi:type="dcterms:W3CDTF">2006-04-06T06:37:04Z</dcterms:created>
  <dcterms:modified xsi:type="dcterms:W3CDTF">2020-12-08T12:36:38Z</dcterms:modified>
</cp:coreProperties>
</file>